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8" r:id="rId1"/>
    <p:sldMasterId id="2147483936" r:id="rId2"/>
  </p:sldMasterIdLst>
  <p:notesMasterIdLst>
    <p:notesMasterId r:id="rId26"/>
  </p:notesMasterIdLst>
  <p:handoutMasterIdLst>
    <p:handoutMasterId r:id="rId27"/>
  </p:handoutMasterIdLst>
  <p:sldIdLst>
    <p:sldId id="1125" r:id="rId3"/>
    <p:sldId id="1121" r:id="rId4"/>
    <p:sldId id="1130" r:id="rId5"/>
    <p:sldId id="1131" r:id="rId6"/>
    <p:sldId id="1126" r:id="rId7"/>
    <p:sldId id="1049" r:id="rId8"/>
    <p:sldId id="1123" r:id="rId9"/>
    <p:sldId id="1124" r:id="rId10"/>
    <p:sldId id="1142" r:id="rId11"/>
    <p:sldId id="1141" r:id="rId12"/>
    <p:sldId id="1150" r:id="rId13"/>
    <p:sldId id="1151" r:id="rId14"/>
    <p:sldId id="1152" r:id="rId15"/>
    <p:sldId id="1143" r:id="rId16"/>
    <p:sldId id="1145" r:id="rId17"/>
    <p:sldId id="1146" r:id="rId18"/>
    <p:sldId id="1069" r:id="rId19"/>
    <p:sldId id="1147" r:id="rId20"/>
    <p:sldId id="1148" r:id="rId21"/>
    <p:sldId id="1103" r:id="rId22"/>
    <p:sldId id="1149" r:id="rId23"/>
    <p:sldId id="1144" r:id="rId24"/>
    <p:sldId id="1139" r:id="rId25"/>
  </p:sldIdLst>
  <p:sldSz cx="9144000" cy="6858000" type="screen4x3"/>
  <p:notesSz cx="6797675" cy="9926638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23" userDrawn="1">
          <p15:clr>
            <a:srgbClr val="A4A3A4"/>
          </p15:clr>
        </p15:guide>
        <p15:guide id="4" orient="horz" pos="729" userDrawn="1">
          <p15:clr>
            <a:srgbClr val="A4A3A4"/>
          </p15:clr>
        </p15:guide>
        <p15:guide id="5" orient="horz" pos="817" userDrawn="1">
          <p15:clr>
            <a:srgbClr val="A4A3A4"/>
          </p15:clr>
        </p15:guide>
        <p15:guide id="6" orient="horz" pos="3786" userDrawn="1">
          <p15:clr>
            <a:srgbClr val="A4A3A4"/>
          </p15:clr>
        </p15:guide>
        <p15:guide id="7" orient="horz" pos="3815" userDrawn="1">
          <p15:clr>
            <a:srgbClr val="A4A3A4"/>
          </p15:clr>
        </p15:guide>
        <p15:guide id="8" orient="horz" pos="3909" userDrawn="1">
          <p15:clr>
            <a:srgbClr val="A4A3A4"/>
          </p15:clr>
        </p15:guide>
        <p15:guide id="9" pos="222" userDrawn="1">
          <p15:clr>
            <a:srgbClr val="A4A3A4"/>
          </p15:clr>
        </p15:guide>
        <p15:guide id="10" pos="553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51C0F"/>
    <a:srgbClr val="336600"/>
    <a:srgbClr val="324D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047" autoAdjust="0"/>
    <p:restoredTop sz="71253" autoAdjust="0"/>
  </p:normalViewPr>
  <p:slideViewPr>
    <p:cSldViewPr snapToGrid="0" showGuides="1">
      <p:cViewPr varScale="1">
        <p:scale>
          <a:sx n="51" d="100"/>
          <a:sy n="51" d="100"/>
        </p:scale>
        <p:origin x="2178" y="72"/>
      </p:cViewPr>
      <p:guideLst>
        <p:guide orient="horz" pos="2160"/>
        <p:guide pos="2880"/>
        <p:guide orient="horz" pos="123"/>
        <p:guide orient="horz" pos="729"/>
        <p:guide orient="horz" pos="817"/>
        <p:guide orient="horz" pos="3786"/>
        <p:guide orient="horz" pos="3815"/>
        <p:guide orient="horz" pos="3909"/>
        <p:guide pos="222"/>
        <p:guide pos="553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90" y="3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49225E-E130-415D-83EE-98412E61793C}" type="datetimeFigureOut">
              <a:rPr lang="en-GB" smtClean="0"/>
              <a:pPr/>
              <a:t>02/04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1A1064-C6EB-4BA5-ADC3-F44E404ADB8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02502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FC7052-F87B-420D-8606-D995B9287722}" type="datetimeFigureOut">
              <a:rPr lang="en-GB" smtClean="0"/>
              <a:pPr/>
              <a:t>02/04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C2C7CC-2EF8-4CCD-BB0D-C657BB26E5D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75548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омпания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kkens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работает на рынке декоративных материалов уже более 200 лет. На сегодняшний день это один из крупнейших поставщиков краски во всем мире. В линейке компании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иккенс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очень широкий спектр продуктов начиная от красок заканчивая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пец-покрытием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для самолетов и кораблей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C2C7CC-2EF8-4CCD-BB0D-C657BB26E5DD}" type="slidenum">
              <a:rPr lang="en-GB" smtClean="0"/>
              <a:pPr/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C2C7CC-2EF8-4CCD-BB0D-C657BB26E5DD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48242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C2C7CC-2EF8-4CCD-BB0D-C657BB26E5DD}" type="slidenum">
              <a:rPr lang="en-GB" smtClean="0"/>
              <a:pPr/>
              <a:t>17</a:t>
            </a:fld>
            <a:endParaRPr lang="en-GB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C2C7CC-2EF8-4CCD-BB0D-C657BB26E5DD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03842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пециальная потолочная краска, в естественно белом цвете. Колеруется только в светлые тона по вееру. Обладает открытым увеличенным временем работы. А так же повышенным содержанием диоксида титана (химическое соединение, которое предает белизну краске.)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C2C7CC-2EF8-4CCD-BB0D-C657BB26E5DD}" type="slidenum">
              <a:rPr lang="en-GB" smtClean="0"/>
              <a:pPr/>
              <a:t>20</a:t>
            </a:fld>
            <a:endParaRPr lang="en-GB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C2C7CC-2EF8-4CCD-BB0D-C657BB26E5DD}" type="slidenum">
              <a:rPr lang="en-GB" smtClean="0"/>
              <a:pPr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98804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кладской запас и удобная логистика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C2C7CC-2EF8-4CCD-BB0D-C657BB26E5DD}" type="slidenum">
              <a:rPr lang="en-GB" smtClean="0"/>
              <a:pPr/>
              <a:t>23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История компании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kken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чинается с 1792 года. Голландский декоратор </a:t>
            </a:r>
            <a:r>
              <a:rPr lang="ru-RU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ирт </a:t>
            </a:r>
            <a:r>
              <a:rPr lang="ru-RU" sz="1200" b="1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иллем</a:t>
            </a:r>
            <a:r>
              <a:rPr lang="ru-RU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b="1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иккенс</a:t>
            </a:r>
            <a:r>
              <a:rPr lang="ru-RU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нял что для реализации его проектов ему не хватает красок, которые бы обладали устойчивостью строительных составов и визуальными возможностями художественных красок. Он начинает изготавливать такие краски самостоятельно. Уникальные продукты быстро становятся популярны, и Вирт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иккенс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начинает изготавливать их на продажу для своих коллег-декораторов и других желающих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C2C7CC-2EF8-4CCD-BB0D-C657BB26E5DD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9764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ажные даты в истории компании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иккенс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  <a:r>
              <a:rPr lang="ru-RU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37 год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Герт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иккенс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запускает первый завод по изготовлению лакокрасочных материалов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C2C7CC-2EF8-4CCD-BB0D-C657BB26E5DD}" type="slidenum">
              <a:rPr lang="en-GB" smtClean="0"/>
              <a:pPr/>
              <a:t>3</a:t>
            </a:fld>
            <a:endParaRPr lang="en-GB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903 год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Основание второго завода и первой в мире лаборатории по контролю качества лакокрасочных материалов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C2C7CC-2EF8-4CCD-BB0D-C657BB26E5DD}" type="slidenum">
              <a:rPr lang="en-GB" smtClean="0"/>
              <a:pPr/>
              <a:t>4</a:t>
            </a:fld>
            <a:endParaRPr lang="en-GB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ажно открытие компании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kkens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они одни из первых запустили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олеровочное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оборудование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C2C7CC-2EF8-4CCD-BB0D-C657BB26E5DD}" type="slidenum">
              <a:rPr lang="en-GB" smtClean="0"/>
              <a:pPr/>
              <a:t>5</a:t>
            </a:fld>
            <a:endParaRPr lang="en-GB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 фото Вы можете видеть то, как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олеровочный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аппарат выглядит сейчас. На сегодняшний день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kken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это одна из наиболее популярных компаний в Европе по производству декоративных покрытий. Продукты компании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kken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редставлены по всему миру. Компания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kkens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производит весь спектр лакокрасочной продукции от декоративных покрытий до специальных покрытий для самолетов и судов. Заводы находятся во Франции, Бельгии и Италии, Нидерландах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C2C7CC-2EF8-4CCD-BB0D-C657BB26E5DD}" type="slidenum">
              <a:rPr lang="en-GB" smtClean="0"/>
              <a:pPr/>
              <a:t>6</a:t>
            </a:fld>
            <a:endParaRPr lang="en-GB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е мало объектов где использовалась краска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kkens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 Европе это: музей ванн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гога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ейхмузеум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в Амстердаме. Исторический музей берлина. Церковь сан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оминго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Театр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преа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ла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скала. Церковь святого Михаила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C2C7CC-2EF8-4CCD-BB0D-C657BB26E5DD}" type="slidenum">
              <a:rPr lang="en-GB" smtClean="0"/>
              <a:pPr/>
              <a:t>7</a:t>
            </a:fld>
            <a:endParaRPr lang="en-GB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ак же много мест в России: Большой театр, Театр современник. Ряд станций московского метро. ВТБ арена. Шереметьево. Ресторан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урандот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В сети магазинов и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естаранов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Елки палки, Хлеб и соль.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офемания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Зара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Юдашкн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Ев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оше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варовски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Боско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C2C7CC-2EF8-4CCD-BB0D-C657BB26E5DD}" type="slidenum">
              <a:rPr lang="en-GB" smtClean="0"/>
              <a:pPr/>
              <a:t>8</a:t>
            </a:fld>
            <a:endParaRPr lang="en-GB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C2C7CC-2EF8-4CCD-BB0D-C657BB26E5DD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63046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gif"/><Relationship Id="rId5" Type="http://schemas.openxmlformats.org/officeDocument/2006/relationships/image" Target="../media/image9.gif"/><Relationship Id="rId4" Type="http://schemas.openxmlformats.org/officeDocument/2006/relationships/image" Target="../media/image8.gi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gif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7.bin"/><Relationship Id="rId9" Type="http://schemas.openxmlformats.org/officeDocument/2006/relationships/image" Target="../media/image9.gi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gif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8.bin"/><Relationship Id="rId9" Type="http://schemas.openxmlformats.org/officeDocument/2006/relationships/image" Target="../media/image9.gi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gif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9.bin"/><Relationship Id="rId9" Type="http://schemas.openxmlformats.org/officeDocument/2006/relationships/image" Target="../media/image9.gi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gif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9.gi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gif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9.gi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gif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9.gi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gif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9.gi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gif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9.gi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gif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9.gi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gif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9.gi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gif"/><Relationship Id="rId5" Type="http://schemas.openxmlformats.org/officeDocument/2006/relationships/image" Target="../media/image9.gif"/><Relationship Id="rId4" Type="http://schemas.openxmlformats.org/officeDocument/2006/relationships/image" Target="../media/image8.gi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5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gif"/><Relationship Id="rId5" Type="http://schemas.openxmlformats.org/officeDocument/2006/relationships/image" Target="../media/image9.gif"/><Relationship Id="rId4" Type="http://schemas.openxmlformats.org/officeDocument/2006/relationships/image" Target="../media/image8.gi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gif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23.bin"/><Relationship Id="rId9" Type="http://schemas.openxmlformats.org/officeDocument/2006/relationships/image" Target="../media/image9.gif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gif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24.bin"/><Relationship Id="rId9" Type="http://schemas.openxmlformats.org/officeDocument/2006/relationships/image" Target="../media/image9.gif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gif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25.bin"/><Relationship Id="rId9" Type="http://schemas.openxmlformats.org/officeDocument/2006/relationships/image" Target="../media/image9.gif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gif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26.bin"/><Relationship Id="rId9" Type="http://schemas.openxmlformats.org/officeDocument/2006/relationships/image" Target="../media/image9.gi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gif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27.bin"/><Relationship Id="rId9" Type="http://schemas.openxmlformats.org/officeDocument/2006/relationships/image" Target="../media/image9.gif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gif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28.bin"/><Relationship Id="rId9" Type="http://schemas.openxmlformats.org/officeDocument/2006/relationships/image" Target="../media/image9.gif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gif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29.bin"/><Relationship Id="rId9" Type="http://schemas.openxmlformats.org/officeDocument/2006/relationships/image" Target="../media/image9.gif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gif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30.bin"/><Relationship Id="rId9" Type="http://schemas.openxmlformats.org/officeDocument/2006/relationships/image" Target="../media/image9.gif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gif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31.bin"/><Relationship Id="rId9" Type="http://schemas.openxmlformats.org/officeDocument/2006/relationships/image" Target="../media/image9.gif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gif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6.gif"/><Relationship Id="rId5" Type="http://schemas.openxmlformats.org/officeDocument/2006/relationships/image" Target="../media/image1.emf"/><Relationship Id="rId10" Type="http://schemas.openxmlformats.org/officeDocument/2006/relationships/image" Target="../media/image10.gif"/><Relationship Id="rId4" Type="http://schemas.openxmlformats.org/officeDocument/2006/relationships/oleObject" Target="../embeddings/oleObject32.bin"/><Relationship Id="rId9" Type="http://schemas.openxmlformats.org/officeDocument/2006/relationships/image" Target="../media/image9.gif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gif"/><Relationship Id="rId5" Type="http://schemas.openxmlformats.org/officeDocument/2006/relationships/image" Target="../media/image9.gif"/><Relationship Id="rId4" Type="http://schemas.openxmlformats.org/officeDocument/2006/relationships/image" Target="../media/image8.gif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gradFill>
          <a:gsLst>
            <a:gs pos="10000">
              <a:srgbClr val="E4312C"/>
            </a:gs>
            <a:gs pos="90000">
              <a:srgbClr val="F18E0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 bwMode="gray">
          <a:xfrm>
            <a:off x="0" y="-1"/>
            <a:ext cx="9144000" cy="2820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+mj-lt"/>
            </a:endParaRPr>
          </a:p>
        </p:txBody>
      </p:sp>
      <p:grpSp>
        <p:nvGrpSpPr>
          <p:cNvPr id="5" name="Group 4"/>
          <p:cNvGrpSpPr/>
          <p:nvPr/>
        </p:nvGrpSpPr>
        <p:grpSpPr bwMode="gray">
          <a:xfrm>
            <a:off x="1" y="1689100"/>
            <a:ext cx="9143999" cy="699756"/>
            <a:chOff x="2087598" y="1250423"/>
            <a:chExt cx="7056402" cy="541219"/>
          </a:xfrm>
        </p:grpSpPr>
        <p:grpSp>
          <p:nvGrpSpPr>
            <p:cNvPr id="25" name="Group 24"/>
            <p:cNvGrpSpPr/>
            <p:nvPr/>
          </p:nvGrpSpPr>
          <p:grpSpPr bwMode="gray">
            <a:xfrm>
              <a:off x="6065072" y="1250423"/>
              <a:ext cx="2851590" cy="534134"/>
              <a:chOff x="6082760" y="2229099"/>
              <a:chExt cx="2851590" cy="534134"/>
            </a:xfrm>
          </p:grpSpPr>
          <p:sp>
            <p:nvSpPr>
              <p:cNvPr id="26" name="AutoShape 21"/>
              <p:cNvSpPr>
                <a:spLocks noChangeAspect="1" noChangeArrowheads="1" noTextEdit="1"/>
              </p:cNvSpPr>
              <p:nvPr/>
            </p:nvSpPr>
            <p:spPr bwMode="gray">
              <a:xfrm>
                <a:off x="6082760" y="2230248"/>
                <a:ext cx="2848718" cy="53298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7" name="Freeform 23"/>
              <p:cNvSpPr>
                <a:spLocks noEditPoints="1"/>
              </p:cNvSpPr>
              <p:nvPr/>
            </p:nvSpPr>
            <p:spPr bwMode="gray">
              <a:xfrm>
                <a:off x="7684590" y="2229099"/>
                <a:ext cx="1249760" cy="532985"/>
              </a:xfrm>
              <a:custGeom>
                <a:avLst/>
                <a:gdLst/>
                <a:ahLst/>
                <a:cxnLst>
                  <a:cxn ang="0">
                    <a:pos x="898" y="12"/>
                  </a:cxn>
                  <a:cxn ang="0">
                    <a:pos x="882" y="34"/>
                  </a:cxn>
                  <a:cxn ang="0">
                    <a:pos x="865" y="65"/>
                  </a:cxn>
                  <a:cxn ang="0">
                    <a:pos x="872" y="23"/>
                  </a:cxn>
                  <a:cxn ang="0">
                    <a:pos x="869" y="1"/>
                  </a:cxn>
                  <a:cxn ang="0">
                    <a:pos x="857" y="38"/>
                  </a:cxn>
                  <a:cxn ang="0">
                    <a:pos x="848" y="76"/>
                  </a:cxn>
                  <a:cxn ang="0">
                    <a:pos x="845" y="17"/>
                  </a:cxn>
                  <a:cxn ang="0">
                    <a:pos x="833" y="31"/>
                  </a:cxn>
                  <a:cxn ang="0">
                    <a:pos x="834" y="63"/>
                  </a:cxn>
                  <a:cxn ang="0">
                    <a:pos x="832" y="59"/>
                  </a:cxn>
                  <a:cxn ang="0">
                    <a:pos x="818" y="33"/>
                  </a:cxn>
                  <a:cxn ang="0">
                    <a:pos x="819" y="69"/>
                  </a:cxn>
                  <a:cxn ang="0">
                    <a:pos x="798" y="105"/>
                  </a:cxn>
                  <a:cxn ang="0">
                    <a:pos x="750" y="107"/>
                  </a:cxn>
                  <a:cxn ang="0">
                    <a:pos x="633" y="184"/>
                  </a:cxn>
                  <a:cxn ang="0">
                    <a:pos x="496" y="256"/>
                  </a:cxn>
                  <a:cxn ang="0">
                    <a:pos x="536" y="219"/>
                  </a:cxn>
                  <a:cxn ang="0">
                    <a:pos x="322" y="389"/>
                  </a:cxn>
                  <a:cxn ang="0">
                    <a:pos x="423" y="393"/>
                  </a:cxn>
                  <a:cxn ang="0">
                    <a:pos x="418" y="346"/>
                  </a:cxn>
                  <a:cxn ang="0">
                    <a:pos x="645" y="268"/>
                  </a:cxn>
                  <a:cxn ang="0">
                    <a:pos x="766" y="146"/>
                  </a:cxn>
                  <a:cxn ang="0">
                    <a:pos x="830" y="108"/>
                  </a:cxn>
                  <a:cxn ang="0">
                    <a:pos x="853" y="91"/>
                  </a:cxn>
                  <a:cxn ang="0">
                    <a:pos x="884" y="56"/>
                  </a:cxn>
                  <a:cxn ang="0">
                    <a:pos x="915" y="9"/>
                  </a:cxn>
                  <a:cxn ang="0">
                    <a:pos x="417" y="125"/>
                  </a:cxn>
                  <a:cxn ang="0">
                    <a:pos x="425" y="117"/>
                  </a:cxn>
                  <a:cxn ang="0">
                    <a:pos x="401" y="109"/>
                  </a:cxn>
                  <a:cxn ang="0">
                    <a:pos x="417" y="125"/>
                  </a:cxn>
                  <a:cxn ang="0">
                    <a:pos x="356" y="110"/>
                  </a:cxn>
                  <a:cxn ang="0">
                    <a:pos x="355" y="147"/>
                  </a:cxn>
                  <a:cxn ang="0">
                    <a:pos x="351" y="135"/>
                  </a:cxn>
                  <a:cxn ang="0">
                    <a:pos x="335" y="119"/>
                  </a:cxn>
                  <a:cxn ang="0">
                    <a:pos x="435" y="213"/>
                  </a:cxn>
                  <a:cxn ang="0">
                    <a:pos x="361" y="234"/>
                  </a:cxn>
                  <a:cxn ang="0">
                    <a:pos x="369" y="209"/>
                  </a:cxn>
                  <a:cxn ang="0">
                    <a:pos x="372" y="183"/>
                  </a:cxn>
                  <a:cxn ang="0">
                    <a:pos x="392" y="172"/>
                  </a:cxn>
                  <a:cxn ang="0">
                    <a:pos x="377" y="163"/>
                  </a:cxn>
                  <a:cxn ang="0">
                    <a:pos x="400" y="164"/>
                  </a:cxn>
                  <a:cxn ang="0">
                    <a:pos x="388" y="153"/>
                  </a:cxn>
                  <a:cxn ang="0">
                    <a:pos x="396" y="139"/>
                  </a:cxn>
                  <a:cxn ang="0">
                    <a:pos x="369" y="88"/>
                  </a:cxn>
                  <a:cxn ang="0">
                    <a:pos x="319" y="39"/>
                  </a:cxn>
                  <a:cxn ang="0">
                    <a:pos x="275" y="91"/>
                  </a:cxn>
                  <a:cxn ang="0">
                    <a:pos x="288" y="98"/>
                  </a:cxn>
                  <a:cxn ang="0">
                    <a:pos x="293" y="147"/>
                  </a:cxn>
                  <a:cxn ang="0">
                    <a:pos x="292" y="276"/>
                  </a:cxn>
                  <a:cxn ang="0">
                    <a:pos x="278" y="272"/>
                  </a:cxn>
                  <a:cxn ang="0">
                    <a:pos x="248" y="289"/>
                  </a:cxn>
                  <a:cxn ang="0">
                    <a:pos x="186" y="332"/>
                  </a:cxn>
                  <a:cxn ang="0">
                    <a:pos x="119" y="365"/>
                  </a:cxn>
                  <a:cxn ang="0">
                    <a:pos x="267" y="393"/>
                  </a:cxn>
                  <a:cxn ang="0">
                    <a:pos x="756" y="99"/>
                  </a:cxn>
                  <a:cxn ang="0">
                    <a:pos x="805" y="78"/>
                  </a:cxn>
                  <a:cxn ang="0">
                    <a:pos x="791" y="68"/>
                  </a:cxn>
                  <a:cxn ang="0">
                    <a:pos x="807" y="34"/>
                  </a:cxn>
                  <a:cxn ang="0">
                    <a:pos x="783" y="45"/>
                  </a:cxn>
                  <a:cxn ang="0">
                    <a:pos x="754" y="98"/>
                  </a:cxn>
                </a:cxnLst>
                <a:rect l="0" t="0" r="r" b="b"/>
                <a:pathLst>
                  <a:path w="921" h="393">
                    <a:moveTo>
                      <a:pt x="910" y="2"/>
                    </a:moveTo>
                    <a:cubicBezTo>
                      <a:pt x="906" y="3"/>
                      <a:pt x="902" y="6"/>
                      <a:pt x="898" y="12"/>
                    </a:cubicBezTo>
                    <a:cubicBezTo>
                      <a:pt x="896" y="14"/>
                      <a:pt x="892" y="21"/>
                      <a:pt x="890" y="26"/>
                    </a:cubicBezTo>
                    <a:cubicBezTo>
                      <a:pt x="886" y="29"/>
                      <a:pt x="885" y="31"/>
                      <a:pt x="882" y="34"/>
                    </a:cubicBezTo>
                    <a:cubicBezTo>
                      <a:pt x="879" y="37"/>
                      <a:pt x="875" y="42"/>
                      <a:pt x="874" y="43"/>
                    </a:cubicBezTo>
                    <a:cubicBezTo>
                      <a:pt x="872" y="50"/>
                      <a:pt x="865" y="65"/>
                      <a:pt x="865" y="65"/>
                    </a:cubicBezTo>
                    <a:cubicBezTo>
                      <a:pt x="866" y="58"/>
                      <a:pt x="872" y="41"/>
                      <a:pt x="873" y="37"/>
                    </a:cubicBezTo>
                    <a:cubicBezTo>
                      <a:pt x="874" y="33"/>
                      <a:pt x="872" y="27"/>
                      <a:pt x="872" y="23"/>
                    </a:cubicBezTo>
                    <a:cubicBezTo>
                      <a:pt x="871" y="19"/>
                      <a:pt x="871" y="15"/>
                      <a:pt x="871" y="12"/>
                    </a:cubicBezTo>
                    <a:cubicBezTo>
                      <a:pt x="871" y="10"/>
                      <a:pt x="873" y="0"/>
                      <a:pt x="869" y="1"/>
                    </a:cubicBezTo>
                    <a:cubicBezTo>
                      <a:pt x="866" y="1"/>
                      <a:pt x="860" y="3"/>
                      <a:pt x="858" y="12"/>
                    </a:cubicBezTo>
                    <a:cubicBezTo>
                      <a:pt x="857" y="18"/>
                      <a:pt x="858" y="27"/>
                      <a:pt x="857" y="38"/>
                    </a:cubicBezTo>
                    <a:cubicBezTo>
                      <a:pt x="857" y="40"/>
                      <a:pt x="855" y="43"/>
                      <a:pt x="854" y="50"/>
                    </a:cubicBezTo>
                    <a:cubicBezTo>
                      <a:pt x="852" y="57"/>
                      <a:pt x="850" y="68"/>
                      <a:pt x="848" y="76"/>
                    </a:cubicBezTo>
                    <a:cubicBezTo>
                      <a:pt x="848" y="73"/>
                      <a:pt x="851" y="56"/>
                      <a:pt x="851" y="49"/>
                    </a:cubicBezTo>
                    <a:cubicBezTo>
                      <a:pt x="852" y="42"/>
                      <a:pt x="846" y="20"/>
                      <a:pt x="845" y="17"/>
                    </a:cubicBezTo>
                    <a:cubicBezTo>
                      <a:pt x="845" y="14"/>
                      <a:pt x="844" y="13"/>
                      <a:pt x="842" y="13"/>
                    </a:cubicBezTo>
                    <a:cubicBezTo>
                      <a:pt x="837" y="12"/>
                      <a:pt x="832" y="20"/>
                      <a:pt x="833" y="31"/>
                    </a:cubicBezTo>
                    <a:cubicBezTo>
                      <a:pt x="834" y="34"/>
                      <a:pt x="838" y="44"/>
                      <a:pt x="838" y="49"/>
                    </a:cubicBezTo>
                    <a:cubicBezTo>
                      <a:pt x="837" y="54"/>
                      <a:pt x="835" y="60"/>
                      <a:pt x="834" y="63"/>
                    </a:cubicBezTo>
                    <a:cubicBezTo>
                      <a:pt x="834" y="70"/>
                      <a:pt x="833" y="80"/>
                      <a:pt x="832" y="85"/>
                    </a:cubicBezTo>
                    <a:cubicBezTo>
                      <a:pt x="833" y="81"/>
                      <a:pt x="832" y="62"/>
                      <a:pt x="832" y="59"/>
                    </a:cubicBezTo>
                    <a:cubicBezTo>
                      <a:pt x="831" y="56"/>
                      <a:pt x="826" y="43"/>
                      <a:pt x="823" y="35"/>
                    </a:cubicBezTo>
                    <a:cubicBezTo>
                      <a:pt x="822" y="32"/>
                      <a:pt x="820" y="32"/>
                      <a:pt x="818" y="33"/>
                    </a:cubicBezTo>
                    <a:cubicBezTo>
                      <a:pt x="812" y="36"/>
                      <a:pt x="812" y="47"/>
                      <a:pt x="813" y="52"/>
                    </a:cubicBezTo>
                    <a:cubicBezTo>
                      <a:pt x="814" y="54"/>
                      <a:pt x="817" y="62"/>
                      <a:pt x="819" y="69"/>
                    </a:cubicBezTo>
                    <a:cubicBezTo>
                      <a:pt x="815" y="100"/>
                      <a:pt x="808" y="102"/>
                      <a:pt x="808" y="102"/>
                    </a:cubicBezTo>
                    <a:cubicBezTo>
                      <a:pt x="808" y="102"/>
                      <a:pt x="806" y="104"/>
                      <a:pt x="798" y="105"/>
                    </a:cubicBezTo>
                    <a:cubicBezTo>
                      <a:pt x="784" y="108"/>
                      <a:pt x="759" y="114"/>
                      <a:pt x="752" y="107"/>
                    </a:cubicBezTo>
                    <a:cubicBezTo>
                      <a:pt x="752" y="107"/>
                      <a:pt x="751" y="106"/>
                      <a:pt x="750" y="107"/>
                    </a:cubicBezTo>
                    <a:cubicBezTo>
                      <a:pt x="748" y="108"/>
                      <a:pt x="730" y="124"/>
                      <a:pt x="719" y="132"/>
                    </a:cubicBezTo>
                    <a:cubicBezTo>
                      <a:pt x="684" y="158"/>
                      <a:pt x="661" y="165"/>
                      <a:pt x="633" y="184"/>
                    </a:cubicBezTo>
                    <a:cubicBezTo>
                      <a:pt x="602" y="234"/>
                      <a:pt x="572" y="250"/>
                      <a:pt x="533" y="261"/>
                    </a:cubicBezTo>
                    <a:cubicBezTo>
                      <a:pt x="516" y="266"/>
                      <a:pt x="500" y="265"/>
                      <a:pt x="496" y="256"/>
                    </a:cubicBezTo>
                    <a:cubicBezTo>
                      <a:pt x="489" y="235"/>
                      <a:pt x="517" y="224"/>
                      <a:pt x="536" y="221"/>
                    </a:cubicBezTo>
                    <a:cubicBezTo>
                      <a:pt x="537" y="221"/>
                      <a:pt x="537" y="219"/>
                      <a:pt x="536" y="219"/>
                    </a:cubicBezTo>
                    <a:cubicBezTo>
                      <a:pt x="527" y="214"/>
                      <a:pt x="516" y="211"/>
                      <a:pt x="503" y="211"/>
                    </a:cubicBezTo>
                    <a:cubicBezTo>
                      <a:pt x="405" y="209"/>
                      <a:pt x="313" y="326"/>
                      <a:pt x="322" y="389"/>
                    </a:cubicBezTo>
                    <a:cubicBezTo>
                      <a:pt x="322" y="390"/>
                      <a:pt x="322" y="392"/>
                      <a:pt x="322" y="393"/>
                    </a:cubicBezTo>
                    <a:cubicBezTo>
                      <a:pt x="423" y="393"/>
                      <a:pt x="423" y="393"/>
                      <a:pt x="423" y="393"/>
                    </a:cubicBezTo>
                    <a:cubicBezTo>
                      <a:pt x="437" y="380"/>
                      <a:pt x="452" y="363"/>
                      <a:pt x="467" y="342"/>
                    </a:cubicBezTo>
                    <a:cubicBezTo>
                      <a:pt x="467" y="342"/>
                      <a:pt x="440" y="347"/>
                      <a:pt x="418" y="346"/>
                    </a:cubicBezTo>
                    <a:cubicBezTo>
                      <a:pt x="418" y="346"/>
                      <a:pt x="448" y="340"/>
                      <a:pt x="491" y="311"/>
                    </a:cubicBezTo>
                    <a:cubicBezTo>
                      <a:pt x="562" y="329"/>
                      <a:pt x="626" y="237"/>
                      <a:pt x="645" y="268"/>
                    </a:cubicBezTo>
                    <a:cubicBezTo>
                      <a:pt x="645" y="269"/>
                      <a:pt x="647" y="268"/>
                      <a:pt x="647" y="268"/>
                    </a:cubicBezTo>
                    <a:cubicBezTo>
                      <a:pt x="704" y="229"/>
                      <a:pt x="726" y="180"/>
                      <a:pt x="766" y="146"/>
                    </a:cubicBezTo>
                    <a:cubicBezTo>
                      <a:pt x="784" y="131"/>
                      <a:pt x="787" y="125"/>
                      <a:pt x="818" y="117"/>
                    </a:cubicBezTo>
                    <a:cubicBezTo>
                      <a:pt x="827" y="114"/>
                      <a:pt x="827" y="111"/>
                      <a:pt x="830" y="108"/>
                    </a:cubicBezTo>
                    <a:cubicBezTo>
                      <a:pt x="834" y="103"/>
                      <a:pt x="840" y="107"/>
                      <a:pt x="844" y="100"/>
                    </a:cubicBezTo>
                    <a:cubicBezTo>
                      <a:pt x="846" y="97"/>
                      <a:pt x="844" y="92"/>
                      <a:pt x="853" y="91"/>
                    </a:cubicBezTo>
                    <a:cubicBezTo>
                      <a:pt x="861" y="89"/>
                      <a:pt x="862" y="81"/>
                      <a:pt x="866" y="77"/>
                    </a:cubicBezTo>
                    <a:cubicBezTo>
                      <a:pt x="876" y="65"/>
                      <a:pt x="875" y="66"/>
                      <a:pt x="884" y="56"/>
                    </a:cubicBezTo>
                    <a:cubicBezTo>
                      <a:pt x="888" y="52"/>
                      <a:pt x="901" y="35"/>
                      <a:pt x="903" y="33"/>
                    </a:cubicBezTo>
                    <a:cubicBezTo>
                      <a:pt x="905" y="29"/>
                      <a:pt x="909" y="16"/>
                      <a:pt x="915" y="9"/>
                    </a:cubicBezTo>
                    <a:cubicBezTo>
                      <a:pt x="921" y="3"/>
                      <a:pt x="916" y="0"/>
                      <a:pt x="910" y="2"/>
                    </a:cubicBezTo>
                    <a:close/>
                    <a:moveTo>
                      <a:pt x="417" y="125"/>
                    </a:moveTo>
                    <a:cubicBezTo>
                      <a:pt x="418" y="125"/>
                      <a:pt x="419" y="125"/>
                      <a:pt x="420" y="124"/>
                    </a:cubicBezTo>
                    <a:cubicBezTo>
                      <a:pt x="422" y="122"/>
                      <a:pt x="425" y="119"/>
                      <a:pt x="425" y="117"/>
                    </a:cubicBezTo>
                    <a:cubicBezTo>
                      <a:pt x="425" y="113"/>
                      <a:pt x="419" y="107"/>
                      <a:pt x="409" y="107"/>
                    </a:cubicBezTo>
                    <a:cubicBezTo>
                      <a:pt x="405" y="106"/>
                      <a:pt x="404" y="107"/>
                      <a:pt x="401" y="109"/>
                    </a:cubicBezTo>
                    <a:cubicBezTo>
                      <a:pt x="398" y="113"/>
                      <a:pt x="401" y="121"/>
                      <a:pt x="402" y="123"/>
                    </a:cubicBezTo>
                    <a:cubicBezTo>
                      <a:pt x="410" y="123"/>
                      <a:pt x="415" y="125"/>
                      <a:pt x="417" y="125"/>
                    </a:cubicBezTo>
                    <a:close/>
                    <a:moveTo>
                      <a:pt x="343" y="106"/>
                    </a:moveTo>
                    <a:cubicBezTo>
                      <a:pt x="343" y="106"/>
                      <a:pt x="347" y="110"/>
                      <a:pt x="356" y="110"/>
                    </a:cubicBezTo>
                    <a:cubicBezTo>
                      <a:pt x="366" y="110"/>
                      <a:pt x="370" y="112"/>
                      <a:pt x="372" y="115"/>
                    </a:cubicBezTo>
                    <a:cubicBezTo>
                      <a:pt x="372" y="134"/>
                      <a:pt x="362" y="147"/>
                      <a:pt x="355" y="147"/>
                    </a:cubicBezTo>
                    <a:cubicBezTo>
                      <a:pt x="353" y="147"/>
                      <a:pt x="352" y="146"/>
                      <a:pt x="353" y="145"/>
                    </a:cubicBezTo>
                    <a:cubicBezTo>
                      <a:pt x="353" y="142"/>
                      <a:pt x="353" y="138"/>
                      <a:pt x="351" y="135"/>
                    </a:cubicBezTo>
                    <a:cubicBezTo>
                      <a:pt x="348" y="131"/>
                      <a:pt x="346" y="128"/>
                      <a:pt x="339" y="125"/>
                    </a:cubicBezTo>
                    <a:cubicBezTo>
                      <a:pt x="338" y="124"/>
                      <a:pt x="335" y="123"/>
                      <a:pt x="335" y="119"/>
                    </a:cubicBezTo>
                    <a:cubicBezTo>
                      <a:pt x="335" y="112"/>
                      <a:pt x="343" y="106"/>
                      <a:pt x="343" y="106"/>
                    </a:cubicBezTo>
                    <a:close/>
                    <a:moveTo>
                      <a:pt x="435" y="213"/>
                    </a:moveTo>
                    <a:cubicBezTo>
                      <a:pt x="437" y="212"/>
                      <a:pt x="437" y="211"/>
                      <a:pt x="435" y="211"/>
                    </a:cubicBezTo>
                    <a:cubicBezTo>
                      <a:pt x="410" y="214"/>
                      <a:pt x="385" y="223"/>
                      <a:pt x="361" y="234"/>
                    </a:cubicBezTo>
                    <a:cubicBezTo>
                      <a:pt x="360" y="232"/>
                      <a:pt x="360" y="231"/>
                      <a:pt x="360" y="227"/>
                    </a:cubicBezTo>
                    <a:cubicBezTo>
                      <a:pt x="360" y="220"/>
                      <a:pt x="361" y="209"/>
                      <a:pt x="369" y="209"/>
                    </a:cubicBezTo>
                    <a:cubicBezTo>
                      <a:pt x="387" y="209"/>
                      <a:pt x="397" y="199"/>
                      <a:pt x="397" y="199"/>
                    </a:cubicBezTo>
                    <a:cubicBezTo>
                      <a:pt x="397" y="199"/>
                      <a:pt x="370" y="195"/>
                      <a:pt x="372" y="183"/>
                    </a:cubicBezTo>
                    <a:cubicBezTo>
                      <a:pt x="373" y="180"/>
                      <a:pt x="375" y="178"/>
                      <a:pt x="378" y="179"/>
                    </a:cubicBezTo>
                    <a:cubicBezTo>
                      <a:pt x="388" y="181"/>
                      <a:pt x="392" y="172"/>
                      <a:pt x="392" y="172"/>
                    </a:cubicBezTo>
                    <a:cubicBezTo>
                      <a:pt x="392" y="172"/>
                      <a:pt x="382" y="170"/>
                      <a:pt x="378" y="167"/>
                    </a:cubicBezTo>
                    <a:cubicBezTo>
                      <a:pt x="377" y="166"/>
                      <a:pt x="376" y="165"/>
                      <a:pt x="377" y="163"/>
                    </a:cubicBezTo>
                    <a:cubicBezTo>
                      <a:pt x="379" y="162"/>
                      <a:pt x="381" y="160"/>
                      <a:pt x="384" y="161"/>
                    </a:cubicBezTo>
                    <a:cubicBezTo>
                      <a:pt x="392" y="163"/>
                      <a:pt x="397" y="164"/>
                      <a:pt x="400" y="164"/>
                    </a:cubicBezTo>
                    <a:cubicBezTo>
                      <a:pt x="402" y="164"/>
                      <a:pt x="403" y="162"/>
                      <a:pt x="401" y="162"/>
                    </a:cubicBezTo>
                    <a:cubicBezTo>
                      <a:pt x="398" y="160"/>
                      <a:pt x="394" y="156"/>
                      <a:pt x="388" y="153"/>
                    </a:cubicBezTo>
                    <a:cubicBezTo>
                      <a:pt x="397" y="148"/>
                      <a:pt x="403" y="140"/>
                      <a:pt x="403" y="140"/>
                    </a:cubicBezTo>
                    <a:cubicBezTo>
                      <a:pt x="403" y="140"/>
                      <a:pt x="400" y="141"/>
                      <a:pt x="396" y="139"/>
                    </a:cubicBezTo>
                    <a:cubicBezTo>
                      <a:pt x="390" y="136"/>
                      <a:pt x="390" y="109"/>
                      <a:pt x="386" y="103"/>
                    </a:cubicBezTo>
                    <a:cubicBezTo>
                      <a:pt x="382" y="96"/>
                      <a:pt x="374" y="90"/>
                      <a:pt x="369" y="88"/>
                    </a:cubicBezTo>
                    <a:cubicBezTo>
                      <a:pt x="362" y="85"/>
                      <a:pt x="356" y="84"/>
                      <a:pt x="353" y="81"/>
                    </a:cubicBezTo>
                    <a:cubicBezTo>
                      <a:pt x="347" y="75"/>
                      <a:pt x="357" y="39"/>
                      <a:pt x="319" y="39"/>
                    </a:cubicBezTo>
                    <a:cubicBezTo>
                      <a:pt x="295" y="39"/>
                      <a:pt x="279" y="58"/>
                      <a:pt x="275" y="77"/>
                    </a:cubicBezTo>
                    <a:cubicBezTo>
                      <a:pt x="274" y="84"/>
                      <a:pt x="275" y="91"/>
                      <a:pt x="275" y="91"/>
                    </a:cubicBezTo>
                    <a:cubicBezTo>
                      <a:pt x="275" y="91"/>
                      <a:pt x="295" y="87"/>
                      <a:pt x="302" y="107"/>
                    </a:cubicBezTo>
                    <a:cubicBezTo>
                      <a:pt x="296" y="101"/>
                      <a:pt x="290" y="98"/>
                      <a:pt x="288" y="98"/>
                    </a:cubicBezTo>
                    <a:cubicBezTo>
                      <a:pt x="281" y="97"/>
                      <a:pt x="276" y="101"/>
                      <a:pt x="275" y="108"/>
                    </a:cubicBezTo>
                    <a:cubicBezTo>
                      <a:pt x="271" y="128"/>
                      <a:pt x="291" y="145"/>
                      <a:pt x="293" y="147"/>
                    </a:cubicBezTo>
                    <a:cubicBezTo>
                      <a:pt x="289" y="187"/>
                      <a:pt x="307" y="212"/>
                      <a:pt x="308" y="244"/>
                    </a:cubicBezTo>
                    <a:cubicBezTo>
                      <a:pt x="309" y="265"/>
                      <a:pt x="295" y="274"/>
                      <a:pt x="292" y="276"/>
                    </a:cubicBezTo>
                    <a:cubicBezTo>
                      <a:pt x="275" y="293"/>
                      <a:pt x="271" y="300"/>
                      <a:pt x="266" y="314"/>
                    </a:cubicBezTo>
                    <a:cubicBezTo>
                      <a:pt x="266" y="303"/>
                      <a:pt x="269" y="289"/>
                      <a:pt x="278" y="272"/>
                    </a:cubicBezTo>
                    <a:cubicBezTo>
                      <a:pt x="279" y="271"/>
                      <a:pt x="279" y="270"/>
                      <a:pt x="277" y="271"/>
                    </a:cubicBezTo>
                    <a:cubicBezTo>
                      <a:pt x="269" y="275"/>
                      <a:pt x="254" y="284"/>
                      <a:pt x="248" y="289"/>
                    </a:cubicBezTo>
                    <a:cubicBezTo>
                      <a:pt x="242" y="296"/>
                      <a:pt x="235" y="302"/>
                      <a:pt x="229" y="309"/>
                    </a:cubicBezTo>
                    <a:cubicBezTo>
                      <a:pt x="220" y="312"/>
                      <a:pt x="205" y="318"/>
                      <a:pt x="186" y="332"/>
                    </a:cubicBezTo>
                    <a:cubicBezTo>
                      <a:pt x="170" y="343"/>
                      <a:pt x="160" y="364"/>
                      <a:pt x="160" y="364"/>
                    </a:cubicBezTo>
                    <a:cubicBezTo>
                      <a:pt x="160" y="364"/>
                      <a:pt x="143" y="363"/>
                      <a:pt x="119" y="365"/>
                    </a:cubicBezTo>
                    <a:cubicBezTo>
                      <a:pt x="67" y="369"/>
                      <a:pt x="0" y="393"/>
                      <a:pt x="0" y="393"/>
                    </a:cubicBezTo>
                    <a:cubicBezTo>
                      <a:pt x="267" y="393"/>
                      <a:pt x="267" y="393"/>
                      <a:pt x="267" y="393"/>
                    </a:cubicBezTo>
                    <a:cubicBezTo>
                      <a:pt x="272" y="323"/>
                      <a:pt x="364" y="236"/>
                      <a:pt x="435" y="213"/>
                    </a:cubicBezTo>
                    <a:close/>
                    <a:moveTo>
                      <a:pt x="756" y="99"/>
                    </a:moveTo>
                    <a:cubicBezTo>
                      <a:pt x="764" y="95"/>
                      <a:pt x="775" y="94"/>
                      <a:pt x="786" y="88"/>
                    </a:cubicBezTo>
                    <a:cubicBezTo>
                      <a:pt x="793" y="85"/>
                      <a:pt x="795" y="84"/>
                      <a:pt x="805" y="78"/>
                    </a:cubicBezTo>
                    <a:cubicBezTo>
                      <a:pt x="806" y="77"/>
                      <a:pt x="806" y="76"/>
                      <a:pt x="804" y="76"/>
                    </a:cubicBezTo>
                    <a:cubicBezTo>
                      <a:pt x="799" y="76"/>
                      <a:pt x="791" y="74"/>
                      <a:pt x="791" y="68"/>
                    </a:cubicBezTo>
                    <a:cubicBezTo>
                      <a:pt x="790" y="62"/>
                      <a:pt x="792" y="55"/>
                      <a:pt x="797" y="49"/>
                    </a:cubicBezTo>
                    <a:cubicBezTo>
                      <a:pt x="800" y="46"/>
                      <a:pt x="807" y="40"/>
                      <a:pt x="807" y="34"/>
                    </a:cubicBezTo>
                    <a:cubicBezTo>
                      <a:pt x="807" y="23"/>
                      <a:pt x="802" y="22"/>
                      <a:pt x="797" y="22"/>
                    </a:cubicBezTo>
                    <a:cubicBezTo>
                      <a:pt x="797" y="32"/>
                      <a:pt x="787" y="41"/>
                      <a:pt x="783" y="45"/>
                    </a:cubicBezTo>
                    <a:cubicBezTo>
                      <a:pt x="771" y="60"/>
                      <a:pt x="759" y="65"/>
                      <a:pt x="758" y="80"/>
                    </a:cubicBezTo>
                    <a:cubicBezTo>
                      <a:pt x="758" y="85"/>
                      <a:pt x="755" y="94"/>
                      <a:pt x="754" y="98"/>
                    </a:cubicBezTo>
                    <a:cubicBezTo>
                      <a:pt x="754" y="100"/>
                      <a:pt x="755" y="100"/>
                      <a:pt x="756" y="99"/>
                    </a:cubicBezTo>
                    <a:close/>
                  </a:path>
                </a:pathLst>
              </a:custGeom>
              <a:blipFill dpi="0" rotWithShape="1">
                <a:blip r:embed="rId2" cstate="print"/>
                <a:srcRect/>
                <a:stretch>
                  <a:fillRect/>
                </a:stretch>
              </a:blip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grpSp>
            <p:nvGrpSpPr>
              <p:cNvPr id="28" name="Group 33"/>
              <p:cNvGrpSpPr>
                <a:grpSpLocks noChangeAspect="1"/>
              </p:cNvGrpSpPr>
              <p:nvPr/>
            </p:nvGrpSpPr>
            <p:grpSpPr bwMode="gray">
              <a:xfrm>
                <a:off x="6102428" y="2323691"/>
                <a:ext cx="1779160" cy="259200"/>
                <a:chOff x="1430338" y="-1666875"/>
                <a:chExt cx="4968876" cy="723900"/>
              </a:xfrm>
              <a:solidFill>
                <a:srgbClr val="005192"/>
              </a:solidFill>
            </p:grpSpPr>
            <p:sp>
              <p:nvSpPr>
                <p:cNvPr id="29" name="Freeform 28"/>
                <p:cNvSpPr>
                  <a:spLocks/>
                </p:cNvSpPr>
                <p:nvPr/>
              </p:nvSpPr>
              <p:spPr bwMode="gray">
                <a:xfrm>
                  <a:off x="2705101" y="-1463675"/>
                  <a:ext cx="447675" cy="509588"/>
                </a:xfrm>
                <a:custGeom>
                  <a:avLst/>
                  <a:gdLst/>
                  <a:ahLst/>
                  <a:cxnLst>
                    <a:cxn ang="0">
                      <a:pos x="2" y="136"/>
                    </a:cxn>
                    <a:cxn ang="0">
                      <a:pos x="104" y="136"/>
                    </a:cxn>
                    <a:cxn ang="0">
                      <a:pos x="119" y="120"/>
                    </a:cxn>
                    <a:cxn ang="0">
                      <a:pos x="119" y="112"/>
                    </a:cxn>
                    <a:cxn ang="0">
                      <a:pos x="93" y="113"/>
                    </a:cxn>
                    <a:cxn ang="0">
                      <a:pos x="59" y="113"/>
                    </a:cxn>
                    <a:cxn ang="0">
                      <a:pos x="118" y="0"/>
                    </a:cxn>
                    <a:cxn ang="0">
                      <a:pos x="2" y="0"/>
                    </a:cxn>
                    <a:cxn ang="0">
                      <a:pos x="2" y="23"/>
                    </a:cxn>
                    <a:cxn ang="0">
                      <a:pos x="54" y="23"/>
                    </a:cxn>
                    <a:cxn ang="0">
                      <a:pos x="5" y="116"/>
                    </a:cxn>
                    <a:cxn ang="0">
                      <a:pos x="2" y="136"/>
                    </a:cxn>
                  </a:cxnLst>
                  <a:rect l="0" t="0" r="r" b="b"/>
                  <a:pathLst>
                    <a:path w="119" h="136">
                      <a:moveTo>
                        <a:pt x="2" y="136"/>
                      </a:moveTo>
                      <a:cubicBezTo>
                        <a:pt x="104" y="136"/>
                        <a:pt x="104" y="136"/>
                        <a:pt x="104" y="136"/>
                      </a:cubicBezTo>
                      <a:cubicBezTo>
                        <a:pt x="113" y="136"/>
                        <a:pt x="119" y="129"/>
                        <a:pt x="119" y="120"/>
                      </a:cubicBezTo>
                      <a:cubicBezTo>
                        <a:pt x="119" y="112"/>
                        <a:pt x="119" y="112"/>
                        <a:pt x="119" y="112"/>
                      </a:cubicBezTo>
                      <a:cubicBezTo>
                        <a:pt x="115" y="113"/>
                        <a:pt x="107" y="113"/>
                        <a:pt x="93" y="113"/>
                      </a:cubicBezTo>
                      <a:cubicBezTo>
                        <a:pt x="59" y="113"/>
                        <a:pt x="59" y="113"/>
                        <a:pt x="59" y="113"/>
                      </a:cubicBezTo>
                      <a:cubicBezTo>
                        <a:pt x="118" y="0"/>
                        <a:pt x="118" y="0"/>
                        <a:pt x="118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23"/>
                        <a:pt x="2" y="23"/>
                        <a:pt x="2" y="23"/>
                      </a:cubicBezTo>
                      <a:cubicBezTo>
                        <a:pt x="54" y="23"/>
                        <a:pt x="54" y="23"/>
                        <a:pt x="54" y="23"/>
                      </a:cubicBezTo>
                      <a:cubicBezTo>
                        <a:pt x="5" y="116"/>
                        <a:pt x="5" y="116"/>
                        <a:pt x="5" y="116"/>
                      </a:cubicBezTo>
                      <a:cubicBezTo>
                        <a:pt x="1" y="124"/>
                        <a:pt x="0" y="131"/>
                        <a:pt x="2" y="136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0" name="Freeform 25"/>
                <p:cNvSpPr>
                  <a:spLocks/>
                </p:cNvSpPr>
                <p:nvPr/>
              </p:nvSpPr>
              <p:spPr bwMode="gray">
                <a:xfrm>
                  <a:off x="2327276" y="-1463675"/>
                  <a:ext cx="344488" cy="509588"/>
                </a:xfrm>
                <a:custGeom>
                  <a:avLst/>
                  <a:gdLst/>
                  <a:ahLst/>
                  <a:cxnLst>
                    <a:cxn ang="0">
                      <a:pos x="0" y="64"/>
                    </a:cxn>
                    <a:cxn ang="0">
                      <a:pos x="27" y="115"/>
                    </a:cxn>
                    <a:cxn ang="0">
                      <a:pos x="54" y="136"/>
                    </a:cxn>
                    <a:cxn ang="0">
                      <a:pos x="92" y="136"/>
                    </a:cxn>
                    <a:cxn ang="0">
                      <a:pos x="84" y="124"/>
                    </a:cxn>
                    <a:cxn ang="0">
                      <a:pos x="46" y="53"/>
                    </a:cxn>
                    <a:cxn ang="0">
                      <a:pos x="91" y="0"/>
                    </a:cxn>
                    <a:cxn ang="0">
                      <a:pos x="50" y="0"/>
                    </a:cxn>
                    <a:cxn ang="0">
                      <a:pos x="0" y="64"/>
                    </a:cxn>
                  </a:cxnLst>
                  <a:rect l="0" t="0" r="r" b="b"/>
                  <a:pathLst>
                    <a:path w="92" h="136">
                      <a:moveTo>
                        <a:pt x="0" y="64"/>
                      </a:moveTo>
                      <a:cubicBezTo>
                        <a:pt x="27" y="115"/>
                        <a:pt x="27" y="115"/>
                        <a:pt x="27" y="115"/>
                      </a:cubicBezTo>
                      <a:cubicBezTo>
                        <a:pt x="34" y="130"/>
                        <a:pt x="38" y="136"/>
                        <a:pt x="54" y="136"/>
                      </a:cubicBezTo>
                      <a:cubicBezTo>
                        <a:pt x="92" y="136"/>
                        <a:pt x="92" y="136"/>
                        <a:pt x="92" y="136"/>
                      </a:cubicBezTo>
                      <a:cubicBezTo>
                        <a:pt x="90" y="134"/>
                        <a:pt x="88" y="131"/>
                        <a:pt x="84" y="124"/>
                      </a:cubicBezTo>
                      <a:cubicBezTo>
                        <a:pt x="46" y="53"/>
                        <a:pt x="46" y="53"/>
                        <a:pt x="46" y="53"/>
                      </a:cubicBezTo>
                      <a:cubicBezTo>
                        <a:pt x="91" y="0"/>
                        <a:pt x="91" y="0"/>
                        <a:pt x="91" y="0"/>
                      </a:cubicBez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0" y="64"/>
                        <a:pt x="0" y="64"/>
                        <a:pt x="0" y="6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1" name="Freeform 26"/>
                <p:cNvSpPr>
                  <a:spLocks/>
                </p:cNvSpPr>
                <p:nvPr/>
              </p:nvSpPr>
              <p:spPr bwMode="gray">
                <a:xfrm>
                  <a:off x="2143126" y="-1666875"/>
                  <a:ext cx="173038" cy="712788"/>
                </a:xfrm>
                <a:custGeom>
                  <a:avLst/>
                  <a:gdLst/>
                  <a:ahLst/>
                  <a:cxnLst>
                    <a:cxn ang="0">
                      <a:pos x="0" y="190"/>
                    </a:cxn>
                    <a:cxn ang="0">
                      <a:pos x="46" y="190"/>
                    </a:cxn>
                    <a:cxn ang="0">
                      <a:pos x="46" y="28"/>
                    </a:cxn>
                    <a:cxn ang="0">
                      <a:pos x="17" y="0"/>
                    </a:cxn>
                    <a:cxn ang="0">
                      <a:pos x="0" y="0"/>
                    </a:cxn>
                    <a:cxn ang="0">
                      <a:pos x="0" y="190"/>
                    </a:cxn>
                  </a:cxnLst>
                  <a:rect l="0" t="0" r="r" b="b"/>
                  <a:pathLst>
                    <a:path w="46" h="190">
                      <a:moveTo>
                        <a:pt x="0" y="190"/>
                      </a:moveTo>
                      <a:cubicBezTo>
                        <a:pt x="46" y="190"/>
                        <a:pt x="46" y="190"/>
                        <a:pt x="46" y="190"/>
                      </a:cubicBezTo>
                      <a:cubicBezTo>
                        <a:pt x="46" y="28"/>
                        <a:pt x="46" y="28"/>
                        <a:pt x="46" y="28"/>
                      </a:cubicBezTo>
                      <a:cubicBezTo>
                        <a:pt x="46" y="11"/>
                        <a:pt x="34" y="0"/>
                        <a:pt x="1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90"/>
                        <a:pt x="0" y="190"/>
                        <a:pt x="0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2" name="Freeform 27"/>
                <p:cNvSpPr>
                  <a:spLocks noEditPoints="1"/>
                </p:cNvSpPr>
                <p:nvPr/>
              </p:nvSpPr>
              <p:spPr bwMode="gray">
                <a:xfrm>
                  <a:off x="1430338" y="-1614488"/>
                  <a:ext cx="652463" cy="660400"/>
                </a:xfrm>
                <a:custGeom>
                  <a:avLst/>
                  <a:gdLst/>
                  <a:ahLst/>
                  <a:cxnLst>
                    <a:cxn ang="0">
                      <a:pos x="52" y="111"/>
                    </a:cxn>
                    <a:cxn ang="0">
                      <a:pos x="77" y="37"/>
                    </a:cxn>
                    <a:cxn ang="0">
                      <a:pos x="100" y="111"/>
                    </a:cxn>
                    <a:cxn ang="0">
                      <a:pos x="52" y="111"/>
                    </a:cxn>
                    <a:cxn ang="0">
                      <a:pos x="169" y="164"/>
                    </a:cxn>
                    <a:cxn ang="0">
                      <a:pos x="122" y="24"/>
                    </a:cxn>
                    <a:cxn ang="0">
                      <a:pos x="87" y="0"/>
                    </a:cxn>
                    <a:cxn ang="0">
                      <a:pos x="65" y="0"/>
                    </a:cxn>
                    <a:cxn ang="0">
                      <a:pos x="0" y="176"/>
                    </a:cxn>
                    <a:cxn ang="0">
                      <a:pos x="29" y="176"/>
                    </a:cxn>
                    <a:cxn ang="0">
                      <a:pos x="44" y="133"/>
                    </a:cxn>
                    <a:cxn ang="0">
                      <a:pos x="107" y="133"/>
                    </a:cxn>
                    <a:cxn ang="0">
                      <a:pos x="116" y="161"/>
                    </a:cxn>
                    <a:cxn ang="0">
                      <a:pos x="135" y="176"/>
                    </a:cxn>
                    <a:cxn ang="0">
                      <a:pos x="174" y="176"/>
                    </a:cxn>
                    <a:cxn ang="0">
                      <a:pos x="169" y="164"/>
                    </a:cxn>
                  </a:cxnLst>
                  <a:rect l="0" t="0" r="r" b="b"/>
                  <a:pathLst>
                    <a:path w="174" h="176">
                      <a:moveTo>
                        <a:pt x="52" y="111"/>
                      </a:moveTo>
                      <a:cubicBezTo>
                        <a:pt x="77" y="37"/>
                        <a:pt x="77" y="37"/>
                        <a:pt x="77" y="37"/>
                      </a:cubicBezTo>
                      <a:cubicBezTo>
                        <a:pt x="100" y="111"/>
                        <a:pt x="100" y="111"/>
                        <a:pt x="100" y="111"/>
                      </a:cubicBezTo>
                      <a:cubicBezTo>
                        <a:pt x="52" y="111"/>
                        <a:pt x="52" y="111"/>
                        <a:pt x="52" y="111"/>
                      </a:cubicBezTo>
                      <a:close/>
                      <a:moveTo>
                        <a:pt x="169" y="164"/>
                      </a:moveTo>
                      <a:cubicBezTo>
                        <a:pt x="122" y="24"/>
                        <a:pt x="122" y="24"/>
                        <a:pt x="122" y="24"/>
                      </a:cubicBezTo>
                      <a:cubicBezTo>
                        <a:pt x="116" y="8"/>
                        <a:pt x="110" y="0"/>
                        <a:pt x="87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0" y="176"/>
                        <a:pt x="0" y="176"/>
                        <a:pt x="0" y="176"/>
                      </a:cubicBezTo>
                      <a:cubicBezTo>
                        <a:pt x="29" y="176"/>
                        <a:pt x="29" y="176"/>
                        <a:pt x="29" y="176"/>
                      </a:cubicBezTo>
                      <a:cubicBezTo>
                        <a:pt x="44" y="133"/>
                        <a:pt x="44" y="133"/>
                        <a:pt x="44" y="133"/>
                      </a:cubicBezTo>
                      <a:cubicBezTo>
                        <a:pt x="107" y="133"/>
                        <a:pt x="107" y="133"/>
                        <a:pt x="107" y="133"/>
                      </a:cubicBezTo>
                      <a:cubicBezTo>
                        <a:pt x="116" y="161"/>
                        <a:pt x="116" y="161"/>
                        <a:pt x="116" y="161"/>
                      </a:cubicBezTo>
                      <a:cubicBezTo>
                        <a:pt x="120" y="171"/>
                        <a:pt x="124" y="176"/>
                        <a:pt x="135" y="176"/>
                      </a:cubicBezTo>
                      <a:cubicBezTo>
                        <a:pt x="174" y="176"/>
                        <a:pt x="174" y="176"/>
                        <a:pt x="174" y="176"/>
                      </a:cubicBezTo>
                      <a:cubicBezTo>
                        <a:pt x="173" y="174"/>
                        <a:pt x="171" y="171"/>
                        <a:pt x="169" y="16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3" name="Freeform 28"/>
                <p:cNvSpPr>
                  <a:spLocks noEditPoints="1"/>
                </p:cNvSpPr>
                <p:nvPr/>
              </p:nvSpPr>
              <p:spPr bwMode="gray">
                <a:xfrm>
                  <a:off x="3181351" y="-1474788"/>
                  <a:ext cx="541338" cy="531813"/>
                </a:xfrm>
                <a:custGeom>
                  <a:avLst/>
                  <a:gdLst/>
                  <a:ahLst/>
                  <a:cxnLst>
                    <a:cxn ang="0">
                      <a:pos x="72" y="117"/>
                    </a:cxn>
                    <a:cxn ang="0">
                      <a:pos x="51" y="70"/>
                    </a:cxn>
                    <a:cxn ang="0">
                      <a:pos x="72" y="24"/>
                    </a:cxn>
                    <a:cxn ang="0">
                      <a:pos x="93" y="73"/>
                    </a:cxn>
                    <a:cxn ang="0">
                      <a:pos x="72" y="117"/>
                    </a:cxn>
                    <a:cxn ang="0">
                      <a:pos x="72" y="142"/>
                    </a:cxn>
                    <a:cxn ang="0">
                      <a:pos x="144" y="68"/>
                    </a:cxn>
                    <a:cxn ang="0">
                      <a:pos x="73" y="0"/>
                    </a:cxn>
                    <a:cxn ang="0">
                      <a:pos x="0" y="75"/>
                    </a:cxn>
                    <a:cxn ang="0">
                      <a:pos x="72" y="142"/>
                    </a:cxn>
                  </a:cxnLst>
                  <a:rect l="0" t="0" r="r" b="b"/>
                  <a:pathLst>
                    <a:path w="144" h="142">
                      <a:moveTo>
                        <a:pt x="72" y="117"/>
                      </a:moveTo>
                      <a:cubicBezTo>
                        <a:pt x="56" y="117"/>
                        <a:pt x="51" y="99"/>
                        <a:pt x="51" y="70"/>
                      </a:cubicBezTo>
                      <a:cubicBezTo>
                        <a:pt x="51" y="43"/>
                        <a:pt x="56" y="24"/>
                        <a:pt x="72" y="24"/>
                      </a:cubicBezTo>
                      <a:cubicBezTo>
                        <a:pt x="88" y="24"/>
                        <a:pt x="93" y="44"/>
                        <a:pt x="93" y="73"/>
                      </a:cubicBezTo>
                      <a:cubicBezTo>
                        <a:pt x="93" y="100"/>
                        <a:pt x="88" y="117"/>
                        <a:pt x="72" y="117"/>
                      </a:cubicBezTo>
                      <a:moveTo>
                        <a:pt x="72" y="142"/>
                      </a:moveTo>
                      <a:cubicBezTo>
                        <a:pt x="111" y="142"/>
                        <a:pt x="144" y="114"/>
                        <a:pt x="144" y="68"/>
                      </a:cubicBezTo>
                      <a:cubicBezTo>
                        <a:pt x="144" y="29"/>
                        <a:pt x="112" y="0"/>
                        <a:pt x="73" y="0"/>
                      </a:cubicBezTo>
                      <a:cubicBezTo>
                        <a:pt x="33" y="0"/>
                        <a:pt x="0" y="28"/>
                        <a:pt x="0" y="75"/>
                      </a:cubicBezTo>
                      <a:cubicBezTo>
                        <a:pt x="0" y="115"/>
                        <a:pt x="33" y="142"/>
                        <a:pt x="72" y="14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4" name="Freeform 29"/>
                <p:cNvSpPr>
                  <a:spLocks/>
                </p:cNvSpPr>
                <p:nvPr/>
              </p:nvSpPr>
              <p:spPr bwMode="gray">
                <a:xfrm>
                  <a:off x="3800476" y="-1617663"/>
                  <a:ext cx="577850" cy="663575"/>
                </a:xfrm>
                <a:custGeom>
                  <a:avLst/>
                  <a:gdLst/>
                  <a:ahLst/>
                  <a:cxnLst>
                    <a:cxn ang="0">
                      <a:pos x="0" y="177"/>
                    </a:cxn>
                    <a:cxn ang="0">
                      <a:pos x="30" y="177"/>
                    </a:cxn>
                    <a:cxn ang="0">
                      <a:pos x="30" y="65"/>
                    </a:cxn>
                    <a:cxn ang="0">
                      <a:pos x="104" y="154"/>
                    </a:cxn>
                    <a:cxn ang="0">
                      <a:pos x="133" y="177"/>
                    </a:cxn>
                    <a:cxn ang="0">
                      <a:pos x="154" y="177"/>
                    </a:cxn>
                    <a:cxn ang="0">
                      <a:pos x="154" y="16"/>
                    </a:cxn>
                    <a:cxn ang="0">
                      <a:pos x="138" y="0"/>
                    </a:cxn>
                    <a:cxn ang="0">
                      <a:pos x="125" y="0"/>
                    </a:cxn>
                    <a:cxn ang="0">
                      <a:pos x="125" y="107"/>
                    </a:cxn>
                    <a:cxn ang="0">
                      <a:pos x="54" y="21"/>
                    </a:cxn>
                    <a:cxn ang="0">
                      <a:pos x="22" y="0"/>
                    </a:cxn>
                    <a:cxn ang="0">
                      <a:pos x="0" y="0"/>
                    </a:cxn>
                    <a:cxn ang="0">
                      <a:pos x="0" y="177"/>
                    </a:cxn>
                  </a:cxnLst>
                  <a:rect l="0" t="0" r="r" b="b"/>
                  <a:pathLst>
                    <a:path w="154" h="177">
                      <a:moveTo>
                        <a:pt x="0" y="177"/>
                      </a:moveTo>
                      <a:cubicBezTo>
                        <a:pt x="30" y="177"/>
                        <a:pt x="30" y="177"/>
                        <a:pt x="30" y="177"/>
                      </a:cubicBezTo>
                      <a:cubicBezTo>
                        <a:pt x="30" y="65"/>
                        <a:pt x="30" y="65"/>
                        <a:pt x="30" y="65"/>
                      </a:cubicBezTo>
                      <a:cubicBezTo>
                        <a:pt x="104" y="154"/>
                        <a:pt x="104" y="154"/>
                        <a:pt x="104" y="154"/>
                      </a:cubicBezTo>
                      <a:cubicBezTo>
                        <a:pt x="115" y="167"/>
                        <a:pt x="122" y="177"/>
                        <a:pt x="133" y="177"/>
                      </a:cubicBezTo>
                      <a:cubicBezTo>
                        <a:pt x="154" y="177"/>
                        <a:pt x="154" y="177"/>
                        <a:pt x="154" y="177"/>
                      </a:cubicBezTo>
                      <a:cubicBezTo>
                        <a:pt x="154" y="16"/>
                        <a:pt x="154" y="16"/>
                        <a:pt x="154" y="16"/>
                      </a:cubicBezTo>
                      <a:cubicBezTo>
                        <a:pt x="154" y="6"/>
                        <a:pt x="148" y="0"/>
                        <a:pt x="138" y="0"/>
                      </a:cubicBezTo>
                      <a:cubicBezTo>
                        <a:pt x="125" y="0"/>
                        <a:pt x="125" y="0"/>
                        <a:pt x="125" y="0"/>
                      </a:cubicBezTo>
                      <a:cubicBezTo>
                        <a:pt x="125" y="107"/>
                        <a:pt x="125" y="107"/>
                        <a:pt x="125" y="107"/>
                      </a:cubicBezTo>
                      <a:cubicBezTo>
                        <a:pt x="54" y="21"/>
                        <a:pt x="54" y="21"/>
                        <a:pt x="54" y="21"/>
                      </a:cubicBezTo>
                      <a:cubicBezTo>
                        <a:pt x="43" y="8"/>
                        <a:pt x="37" y="0"/>
                        <a:pt x="2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77"/>
                        <a:pt x="0" y="177"/>
                        <a:pt x="0" y="17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5" name="Freeform 30"/>
                <p:cNvSpPr>
                  <a:spLocks noEditPoints="1"/>
                </p:cNvSpPr>
                <p:nvPr/>
              </p:nvSpPr>
              <p:spPr bwMode="gray">
                <a:xfrm>
                  <a:off x="4456113" y="-1474788"/>
                  <a:ext cx="536575" cy="531813"/>
                </a:xfrm>
                <a:custGeom>
                  <a:avLst/>
                  <a:gdLst/>
                  <a:ahLst/>
                  <a:cxnLst>
                    <a:cxn ang="0">
                      <a:pos x="72" y="117"/>
                    </a:cxn>
                    <a:cxn ang="0">
                      <a:pos x="50" y="70"/>
                    </a:cxn>
                    <a:cxn ang="0">
                      <a:pos x="72" y="24"/>
                    </a:cxn>
                    <a:cxn ang="0">
                      <a:pos x="93" y="73"/>
                    </a:cxn>
                    <a:cxn ang="0">
                      <a:pos x="72" y="117"/>
                    </a:cxn>
                    <a:cxn ang="0">
                      <a:pos x="71" y="142"/>
                    </a:cxn>
                    <a:cxn ang="0">
                      <a:pos x="143" y="68"/>
                    </a:cxn>
                    <a:cxn ang="0">
                      <a:pos x="72" y="0"/>
                    </a:cxn>
                    <a:cxn ang="0">
                      <a:pos x="0" y="75"/>
                    </a:cxn>
                    <a:cxn ang="0">
                      <a:pos x="71" y="142"/>
                    </a:cxn>
                  </a:cxnLst>
                  <a:rect l="0" t="0" r="r" b="b"/>
                  <a:pathLst>
                    <a:path w="143" h="142">
                      <a:moveTo>
                        <a:pt x="72" y="117"/>
                      </a:moveTo>
                      <a:cubicBezTo>
                        <a:pt x="56" y="117"/>
                        <a:pt x="50" y="99"/>
                        <a:pt x="50" y="70"/>
                      </a:cubicBezTo>
                      <a:cubicBezTo>
                        <a:pt x="50" y="43"/>
                        <a:pt x="56" y="24"/>
                        <a:pt x="72" y="24"/>
                      </a:cubicBezTo>
                      <a:cubicBezTo>
                        <a:pt x="88" y="24"/>
                        <a:pt x="93" y="44"/>
                        <a:pt x="93" y="73"/>
                      </a:cubicBezTo>
                      <a:cubicBezTo>
                        <a:pt x="93" y="100"/>
                        <a:pt x="88" y="117"/>
                        <a:pt x="72" y="117"/>
                      </a:cubicBezTo>
                      <a:moveTo>
                        <a:pt x="71" y="142"/>
                      </a:moveTo>
                      <a:cubicBezTo>
                        <a:pt x="110" y="142"/>
                        <a:pt x="143" y="114"/>
                        <a:pt x="143" y="68"/>
                      </a:cubicBezTo>
                      <a:cubicBezTo>
                        <a:pt x="143" y="29"/>
                        <a:pt x="112" y="0"/>
                        <a:pt x="72" y="0"/>
                      </a:cubicBezTo>
                      <a:cubicBezTo>
                        <a:pt x="32" y="0"/>
                        <a:pt x="0" y="28"/>
                        <a:pt x="0" y="75"/>
                      </a:cubicBezTo>
                      <a:cubicBezTo>
                        <a:pt x="0" y="115"/>
                        <a:pt x="32" y="142"/>
                        <a:pt x="71" y="14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6" name="Freeform 31"/>
                <p:cNvSpPr>
                  <a:spLocks noEditPoints="1"/>
                </p:cNvSpPr>
                <p:nvPr/>
              </p:nvSpPr>
              <p:spPr bwMode="gray">
                <a:xfrm>
                  <a:off x="5645151" y="-1474788"/>
                  <a:ext cx="506413" cy="531813"/>
                </a:xfrm>
                <a:custGeom>
                  <a:avLst/>
                  <a:gdLst/>
                  <a:ahLst/>
                  <a:cxnLst>
                    <a:cxn ang="0">
                      <a:pos x="47" y="55"/>
                    </a:cxn>
                    <a:cxn ang="0">
                      <a:pos x="69" y="22"/>
                    </a:cxn>
                    <a:cxn ang="0">
                      <a:pos x="91" y="55"/>
                    </a:cxn>
                    <a:cxn ang="0">
                      <a:pos x="47" y="55"/>
                    </a:cxn>
                    <a:cxn ang="0">
                      <a:pos x="134" y="74"/>
                    </a:cxn>
                    <a:cxn ang="0">
                      <a:pos x="135" y="58"/>
                    </a:cxn>
                    <a:cxn ang="0">
                      <a:pos x="70" y="0"/>
                    </a:cxn>
                    <a:cxn ang="0">
                      <a:pos x="0" y="71"/>
                    </a:cxn>
                    <a:cxn ang="0">
                      <a:pos x="68" y="142"/>
                    </a:cxn>
                    <a:cxn ang="0">
                      <a:pos x="127" y="99"/>
                    </a:cxn>
                    <a:cxn ang="0">
                      <a:pos x="88" y="109"/>
                    </a:cxn>
                    <a:cxn ang="0">
                      <a:pos x="47" y="74"/>
                    </a:cxn>
                    <a:cxn ang="0">
                      <a:pos x="134" y="74"/>
                    </a:cxn>
                  </a:cxnLst>
                  <a:rect l="0" t="0" r="r" b="b"/>
                  <a:pathLst>
                    <a:path w="135" h="142">
                      <a:moveTo>
                        <a:pt x="47" y="55"/>
                      </a:moveTo>
                      <a:cubicBezTo>
                        <a:pt x="48" y="35"/>
                        <a:pt x="56" y="22"/>
                        <a:pt x="69" y="22"/>
                      </a:cubicBezTo>
                      <a:cubicBezTo>
                        <a:pt x="88" y="22"/>
                        <a:pt x="91" y="55"/>
                        <a:pt x="91" y="55"/>
                      </a:cubicBezTo>
                      <a:cubicBezTo>
                        <a:pt x="47" y="55"/>
                        <a:pt x="47" y="55"/>
                        <a:pt x="47" y="55"/>
                      </a:cubicBezTo>
                      <a:close/>
                      <a:moveTo>
                        <a:pt x="134" y="74"/>
                      </a:moveTo>
                      <a:cubicBezTo>
                        <a:pt x="135" y="68"/>
                        <a:pt x="135" y="63"/>
                        <a:pt x="135" y="58"/>
                      </a:cubicBezTo>
                      <a:cubicBezTo>
                        <a:pt x="135" y="26"/>
                        <a:pt x="111" y="0"/>
                        <a:pt x="70" y="0"/>
                      </a:cubicBezTo>
                      <a:cubicBezTo>
                        <a:pt x="29" y="0"/>
                        <a:pt x="0" y="28"/>
                        <a:pt x="0" y="71"/>
                      </a:cubicBezTo>
                      <a:cubicBezTo>
                        <a:pt x="0" y="113"/>
                        <a:pt x="26" y="142"/>
                        <a:pt x="68" y="142"/>
                      </a:cubicBezTo>
                      <a:cubicBezTo>
                        <a:pt x="111" y="142"/>
                        <a:pt x="126" y="120"/>
                        <a:pt x="127" y="99"/>
                      </a:cubicBezTo>
                      <a:cubicBezTo>
                        <a:pt x="118" y="105"/>
                        <a:pt x="104" y="109"/>
                        <a:pt x="88" y="109"/>
                      </a:cubicBezTo>
                      <a:cubicBezTo>
                        <a:pt x="65" y="109"/>
                        <a:pt x="49" y="96"/>
                        <a:pt x="47" y="74"/>
                      </a:cubicBezTo>
                      <a:cubicBezTo>
                        <a:pt x="134" y="74"/>
                        <a:pt x="134" y="74"/>
                        <a:pt x="134" y="7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7" name="Freeform 32"/>
                <p:cNvSpPr>
                  <a:spLocks noEditPoints="1"/>
                </p:cNvSpPr>
                <p:nvPr/>
              </p:nvSpPr>
              <p:spPr bwMode="gray">
                <a:xfrm>
                  <a:off x="5072063" y="-1666875"/>
                  <a:ext cx="509588" cy="712788"/>
                </a:xfrm>
                <a:custGeom>
                  <a:avLst/>
                  <a:gdLst/>
                  <a:ahLst/>
                  <a:cxnLst>
                    <a:cxn ang="0">
                      <a:pos x="54" y="167"/>
                    </a:cxn>
                    <a:cxn ang="0">
                      <a:pos x="46" y="167"/>
                    </a:cxn>
                    <a:cxn ang="0">
                      <a:pos x="46" y="80"/>
                    </a:cxn>
                    <a:cxn ang="0">
                      <a:pos x="57" y="79"/>
                    </a:cxn>
                    <a:cxn ang="0">
                      <a:pos x="88" y="117"/>
                    </a:cxn>
                    <a:cxn ang="0">
                      <a:pos x="54" y="167"/>
                    </a:cxn>
                    <a:cxn ang="0">
                      <a:pos x="82" y="52"/>
                    </a:cxn>
                    <a:cxn ang="0">
                      <a:pos x="46" y="65"/>
                    </a:cxn>
                    <a:cxn ang="0">
                      <a:pos x="46" y="28"/>
                    </a:cxn>
                    <a:cxn ang="0">
                      <a:pos x="17" y="0"/>
                    </a:cxn>
                    <a:cxn ang="0">
                      <a:pos x="0" y="0"/>
                    </a:cxn>
                    <a:cxn ang="0">
                      <a:pos x="0" y="190"/>
                    </a:cxn>
                    <a:cxn ang="0">
                      <a:pos x="55" y="190"/>
                    </a:cxn>
                    <a:cxn ang="0">
                      <a:pos x="136" y="112"/>
                    </a:cxn>
                    <a:cxn ang="0">
                      <a:pos x="82" y="52"/>
                    </a:cxn>
                  </a:cxnLst>
                  <a:rect l="0" t="0" r="r" b="b"/>
                  <a:pathLst>
                    <a:path w="136" h="190">
                      <a:moveTo>
                        <a:pt x="54" y="167"/>
                      </a:moveTo>
                      <a:cubicBezTo>
                        <a:pt x="46" y="167"/>
                        <a:pt x="46" y="167"/>
                        <a:pt x="46" y="167"/>
                      </a:cubicBezTo>
                      <a:cubicBezTo>
                        <a:pt x="46" y="80"/>
                        <a:pt x="46" y="80"/>
                        <a:pt x="46" y="80"/>
                      </a:cubicBezTo>
                      <a:cubicBezTo>
                        <a:pt x="49" y="79"/>
                        <a:pt x="52" y="79"/>
                        <a:pt x="57" y="79"/>
                      </a:cubicBezTo>
                      <a:cubicBezTo>
                        <a:pt x="74" y="79"/>
                        <a:pt x="88" y="95"/>
                        <a:pt x="88" y="117"/>
                      </a:cubicBezTo>
                      <a:cubicBezTo>
                        <a:pt x="88" y="150"/>
                        <a:pt x="76" y="167"/>
                        <a:pt x="54" y="167"/>
                      </a:cubicBezTo>
                      <a:close/>
                      <a:moveTo>
                        <a:pt x="82" y="52"/>
                      </a:moveTo>
                      <a:cubicBezTo>
                        <a:pt x="66" y="52"/>
                        <a:pt x="53" y="58"/>
                        <a:pt x="46" y="65"/>
                      </a:cubicBezTo>
                      <a:cubicBezTo>
                        <a:pt x="46" y="28"/>
                        <a:pt x="46" y="28"/>
                        <a:pt x="46" y="28"/>
                      </a:cubicBezTo>
                      <a:cubicBezTo>
                        <a:pt x="46" y="11"/>
                        <a:pt x="34" y="0"/>
                        <a:pt x="1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90"/>
                        <a:pt x="0" y="190"/>
                        <a:pt x="0" y="190"/>
                      </a:cubicBezTo>
                      <a:cubicBezTo>
                        <a:pt x="55" y="190"/>
                        <a:pt x="55" y="190"/>
                        <a:pt x="55" y="190"/>
                      </a:cubicBezTo>
                      <a:cubicBezTo>
                        <a:pt x="107" y="190"/>
                        <a:pt x="136" y="163"/>
                        <a:pt x="136" y="112"/>
                      </a:cubicBezTo>
                      <a:cubicBezTo>
                        <a:pt x="136" y="78"/>
                        <a:pt x="113" y="52"/>
                        <a:pt x="82" y="5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8" name="Freeform 33"/>
                <p:cNvSpPr>
                  <a:spLocks/>
                </p:cNvSpPr>
                <p:nvPr/>
              </p:nvSpPr>
              <p:spPr bwMode="gray">
                <a:xfrm>
                  <a:off x="6223001" y="-1666875"/>
                  <a:ext cx="176213" cy="712788"/>
                </a:xfrm>
                <a:custGeom>
                  <a:avLst/>
                  <a:gdLst/>
                  <a:ahLst/>
                  <a:cxnLst>
                    <a:cxn ang="0">
                      <a:pos x="0" y="190"/>
                    </a:cxn>
                    <a:cxn ang="0">
                      <a:pos x="47" y="190"/>
                    </a:cxn>
                    <a:cxn ang="0">
                      <a:pos x="47" y="28"/>
                    </a:cxn>
                    <a:cxn ang="0">
                      <a:pos x="18" y="0"/>
                    </a:cxn>
                    <a:cxn ang="0">
                      <a:pos x="0" y="0"/>
                    </a:cxn>
                    <a:cxn ang="0">
                      <a:pos x="0" y="190"/>
                    </a:cxn>
                  </a:cxnLst>
                  <a:rect l="0" t="0" r="r" b="b"/>
                  <a:pathLst>
                    <a:path w="47" h="190">
                      <a:moveTo>
                        <a:pt x="0" y="190"/>
                      </a:moveTo>
                      <a:cubicBezTo>
                        <a:pt x="47" y="190"/>
                        <a:pt x="47" y="190"/>
                        <a:pt x="47" y="190"/>
                      </a:cubicBezTo>
                      <a:cubicBezTo>
                        <a:pt x="47" y="28"/>
                        <a:pt x="47" y="28"/>
                        <a:pt x="47" y="28"/>
                      </a:cubicBezTo>
                      <a:cubicBezTo>
                        <a:pt x="47" y="11"/>
                        <a:pt x="35" y="0"/>
                        <a:pt x="1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90"/>
                        <a:pt x="0" y="190"/>
                        <a:pt x="0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</p:grpSp>
        </p:grpSp>
        <p:sp>
          <p:nvSpPr>
            <p:cNvPr id="39" name="Rectangle 38"/>
            <p:cNvSpPr/>
            <p:nvPr/>
          </p:nvSpPr>
          <p:spPr bwMode="gray">
            <a:xfrm>
              <a:off x="2087598" y="1778925"/>
              <a:ext cx="7056402" cy="12717"/>
            </a:xfrm>
            <a:prstGeom prst="rect">
              <a:avLst/>
            </a:prstGeom>
            <a:solidFill>
              <a:srgbClr val="005095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9999" y="4051119"/>
            <a:ext cx="7092000" cy="1378839"/>
          </a:xfrm>
          <a:noFill/>
        </p:spPr>
        <p:txBody>
          <a:bodyPr wrap="square" lIns="0" tIns="0" rIns="0" bIns="0" rtlCol="0" anchor="b" anchorCtr="0">
            <a:spAutoFit/>
          </a:bodyPr>
          <a:lstStyle>
            <a:lvl1pPr marL="0" algn="l" defTabSz="1219170" rtl="0" eaLnBrk="1" latinLnBrk="0" hangingPunct="1">
              <a:lnSpc>
                <a:spcPct val="80000"/>
              </a:lnSpc>
              <a:spcBef>
                <a:spcPts val="0"/>
              </a:spcBef>
              <a:defRPr lang="en-GB" sz="5600" b="1" ker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9999" y="5467033"/>
            <a:ext cx="7092000" cy="648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3717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249947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6"/>
          <p:cNvSpPr>
            <a:spLocks noGrp="1"/>
          </p:cNvSpPr>
          <p:nvPr>
            <p:ph sz="quarter" idx="20"/>
          </p:nvPr>
        </p:nvSpPr>
        <p:spPr bwMode="gray">
          <a:xfrm>
            <a:off x="464652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6"/>
          <p:cNvSpPr>
            <a:spLocks noGrp="1"/>
          </p:cNvSpPr>
          <p:nvPr>
            <p:ph sz="quarter" idx="21"/>
          </p:nvPr>
        </p:nvSpPr>
        <p:spPr bwMode="gray">
          <a:xfrm>
            <a:off x="679357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53738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1298829"/>
            <a:ext cx="4140000" cy="225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4651575" y="1298829"/>
            <a:ext cx="4140000" cy="225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8645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16"/>
          <p:cNvSpPr>
            <a:spLocks noGrp="1"/>
          </p:cNvSpPr>
          <p:nvPr>
            <p:ph sz="quarter" idx="22"/>
          </p:nvPr>
        </p:nvSpPr>
        <p:spPr bwMode="gray">
          <a:xfrm>
            <a:off x="352425" y="3746495"/>
            <a:ext cx="4140000" cy="225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6"/>
          <p:cNvSpPr>
            <a:spLocks noGrp="1"/>
          </p:cNvSpPr>
          <p:nvPr>
            <p:ph sz="quarter" idx="23"/>
          </p:nvPr>
        </p:nvSpPr>
        <p:spPr bwMode="gray">
          <a:xfrm>
            <a:off x="4651575" y="3746495"/>
            <a:ext cx="4140000" cy="225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3209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Quad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gray">
          <a:xfrm>
            <a:off x="0" y="0"/>
            <a:ext cx="9144000" cy="6858000"/>
            <a:chOff x="0" y="0"/>
            <a:chExt cx="9144000" cy="5143500"/>
          </a:xfrm>
        </p:grpSpPr>
        <p:sp>
          <p:nvSpPr>
            <p:cNvPr id="20" name="Rectangle 19"/>
            <p:cNvSpPr/>
            <p:nvPr/>
          </p:nvSpPr>
          <p:spPr bwMode="gray">
            <a:xfrm>
              <a:off x="4500000" y="0"/>
              <a:ext cx="144001" cy="51435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sz="2400" dirty="0" err="1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0" y="2499750"/>
              <a:ext cx="9144000" cy="144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sz="2400" dirty="0" err="1"/>
            </a:p>
          </p:txBody>
        </p:sp>
      </p:grpSp>
      <p:sp>
        <p:nvSpPr>
          <p:cNvPr id="5" name="Picture Placeholder 4"/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4500000" cy="3331200"/>
          </a:xfrm>
          <a:solidFill>
            <a:schemeClr val="bg1">
              <a:lumMod val="95000"/>
            </a:schemeClr>
          </a:solidFill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23"/>
          </p:nvPr>
        </p:nvSpPr>
        <p:spPr>
          <a:xfrm>
            <a:off x="4644000" y="0"/>
            <a:ext cx="4500000" cy="3331200"/>
          </a:xfrm>
          <a:solidFill>
            <a:schemeClr val="bg1">
              <a:lumMod val="95000"/>
            </a:schemeClr>
          </a:solidFill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24"/>
          </p:nvPr>
        </p:nvSpPr>
        <p:spPr>
          <a:xfrm>
            <a:off x="0" y="3526800"/>
            <a:ext cx="4500000" cy="3331200"/>
          </a:xfrm>
          <a:solidFill>
            <a:schemeClr val="bg1">
              <a:lumMod val="95000"/>
            </a:schemeClr>
          </a:solidFill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25"/>
          </p:nvPr>
        </p:nvSpPr>
        <p:spPr>
          <a:xfrm>
            <a:off x="4644000" y="3526800"/>
            <a:ext cx="4500000" cy="3331200"/>
          </a:xfrm>
          <a:solidFill>
            <a:schemeClr val="bg1">
              <a:lumMod val="95000"/>
            </a:schemeClr>
          </a:solidFill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6"/>
          </p:nvPr>
        </p:nvSpPr>
        <p:spPr>
          <a:xfrm>
            <a:off x="0" y="1"/>
            <a:ext cx="4500000" cy="1271136"/>
          </a:xfrm>
        </p:spPr>
        <p:txBody>
          <a:bodyPr lIns="180000" tIns="180000" rIns="180000" bIns="180000">
            <a:spAutoFit/>
          </a:bodyPr>
          <a:lstStyle>
            <a:lvl1pPr>
              <a:defRPr b="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4644000" y="1"/>
            <a:ext cx="4500000" cy="1271136"/>
          </a:xfrm>
        </p:spPr>
        <p:txBody>
          <a:bodyPr lIns="180000" tIns="180000" rIns="180000" bIns="180000">
            <a:spAutoFit/>
          </a:bodyPr>
          <a:lstStyle>
            <a:lvl1pPr>
              <a:defRPr b="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0" y="3526801"/>
            <a:ext cx="4500000" cy="1271136"/>
          </a:xfrm>
        </p:spPr>
        <p:txBody>
          <a:bodyPr lIns="180000" tIns="180000" rIns="180000" bIns="180000">
            <a:spAutoFit/>
          </a:bodyPr>
          <a:lstStyle>
            <a:lvl1pPr>
              <a:defRPr b="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4644000" y="3526801"/>
            <a:ext cx="4500000" cy="1271136"/>
          </a:xfrm>
        </p:spPr>
        <p:txBody>
          <a:bodyPr lIns="180000" tIns="180000" rIns="180000" bIns="180000">
            <a:spAutoFit/>
          </a:bodyPr>
          <a:lstStyle>
            <a:lvl1pPr>
              <a:defRPr b="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15" name="Group 14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16" name="Rectangle 15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28" name="Rectangle 27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30" name="Straight Arrow Connector 29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>
              <a:stCxn id="18" idx="0"/>
              <a:endCxn id="18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>
              <a:stCxn id="18" idx="3"/>
              <a:endCxn id="18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Oval 33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  <p:grpSp>
        <p:nvGrpSpPr>
          <p:cNvPr id="35" name="Group 34"/>
          <p:cNvGrpSpPr/>
          <p:nvPr userDrawn="1"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36" name="Rectangle 35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43" name="Rectangle 42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45" name="Straight Arrow Connector 44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>
              <a:stCxn id="18" idx="0"/>
              <a:endCxn id="18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>
              <a:stCxn id="18" idx="3"/>
              <a:endCxn id="18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Oval 48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0502600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">
    <p:bg bwMode="gray">
      <p:bgPr>
        <a:gradFill>
          <a:gsLst>
            <a:gs pos="10000">
              <a:srgbClr val="E4312C"/>
            </a:gs>
            <a:gs pos="90000">
              <a:srgbClr val="F18E0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66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67" name="Freeform 66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2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52425" y="1260883"/>
            <a:ext cx="8439150" cy="480336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bg1"/>
                </a:solidFill>
              </a:defRPr>
            </a:lvl1pPr>
            <a:lvl2pPr marL="719138" indent="-719138">
              <a:lnSpc>
                <a:spcPct val="90000"/>
              </a:lnSpc>
              <a:spcBef>
                <a:spcPts val="0"/>
              </a:spcBef>
              <a:buFontTx/>
              <a:buBlip>
                <a:blip r:embed="rId6"/>
              </a:buBlip>
              <a:defRPr sz="5400" b="1">
                <a:solidFill>
                  <a:schemeClr val="bg1"/>
                </a:solidFill>
              </a:defRPr>
            </a:lvl2pPr>
            <a:lvl3pPr marL="1255713" indent="-536575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5400" b="1">
                <a:solidFill>
                  <a:schemeClr val="bg1"/>
                </a:solidFill>
              </a:defRPr>
            </a:lvl3pPr>
            <a:lvl4pPr marL="1792288" indent="-534988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5400" b="1">
                <a:solidFill>
                  <a:schemeClr val="bg1"/>
                </a:solidFill>
              </a:defRPr>
            </a:lvl4pPr>
            <a:lvl5pPr marL="2328863" indent="-534988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5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Rectangle 17"/>
          <p:cNvSpPr/>
          <p:nvPr/>
        </p:nvSpPr>
        <p:spPr bwMode="gray">
          <a:xfrm>
            <a:off x="-1591365" y="1405512"/>
            <a:ext cx="1531557" cy="180249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8000" bIns="108000" rtlCol="0" anchor="b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AkzoNobel Bullets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Only use the </a:t>
            </a:r>
            <a:r>
              <a:rPr lang="en-US" sz="900" b="0" u="sng">
                <a:solidFill>
                  <a:schemeClr val="tx1"/>
                </a:solidFill>
              </a:rPr>
              <a:t>List Level buttons</a:t>
            </a:r>
            <a:r>
              <a:rPr lang="en-US" sz="900" b="0">
                <a:solidFill>
                  <a:schemeClr val="tx1"/>
                </a:solidFill>
              </a:rPr>
              <a:t> to apply the</a:t>
            </a:r>
            <a:r>
              <a:rPr lang="en-US" sz="900" b="0" baseline="0">
                <a:solidFill>
                  <a:schemeClr val="tx1"/>
                </a:solidFill>
              </a:rPr>
              <a:t> </a:t>
            </a:r>
            <a:r>
              <a:rPr lang="en-US" sz="900" b="0" i="0" u="none" baseline="0">
                <a:solidFill>
                  <a:schemeClr val="tx1"/>
                </a:solidFill>
              </a:rPr>
              <a:t>AkzoNobel Branded Bullets</a:t>
            </a:r>
            <a:endParaRPr lang="en-US" sz="900" b="0" i="0" u="none" dirty="0">
              <a:solidFill>
                <a:schemeClr val="tx1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 bwMode="gray">
          <a:xfrm>
            <a:off x="-1493181" y="1531453"/>
            <a:ext cx="1335187" cy="795026"/>
            <a:chOff x="-1573454" y="1531453"/>
            <a:chExt cx="1335187" cy="795026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7" cstate="print"/>
            <a:srcRect l="18732" t="14956" r="50206" b="52163"/>
            <a:stretch>
              <a:fillRect/>
            </a:stretch>
          </p:blipFill>
          <p:spPr bwMode="gray">
            <a:xfrm>
              <a:off x="-1573454" y="1531453"/>
              <a:ext cx="1335187" cy="795026"/>
            </a:xfrm>
            <a:custGeom>
              <a:avLst/>
              <a:gdLst>
                <a:gd name="connsiteX0" fmla="*/ 0 w 2840306"/>
                <a:gd name="connsiteY0" fmla="*/ 0 h 1691236"/>
                <a:gd name="connsiteX1" fmla="*/ 2840306 w 2840306"/>
                <a:gd name="connsiteY1" fmla="*/ 0 h 1691236"/>
                <a:gd name="connsiteX2" fmla="*/ 2840306 w 2840306"/>
                <a:gd name="connsiteY2" fmla="*/ 1691236 h 1691236"/>
                <a:gd name="connsiteX3" fmla="*/ 0 w 2840306"/>
                <a:gd name="connsiteY3" fmla="*/ 1691236 h 169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0306" h="1691236">
                  <a:moveTo>
                    <a:pt x="0" y="0"/>
                  </a:moveTo>
                  <a:lnTo>
                    <a:pt x="2840306" y="0"/>
                  </a:lnTo>
                  <a:lnTo>
                    <a:pt x="2840306" y="1691236"/>
                  </a:lnTo>
                  <a:lnTo>
                    <a:pt x="0" y="1691236"/>
                  </a:lnTo>
                  <a:close/>
                </a:path>
              </a:pathLst>
            </a:custGeom>
          </p:spPr>
        </p:pic>
        <p:sp>
          <p:nvSpPr>
            <p:cNvPr id="21" name="Multiply 20"/>
            <p:cNvSpPr/>
            <p:nvPr/>
          </p:nvSpPr>
          <p:spPr bwMode="gray">
            <a:xfrm>
              <a:off x="-1571627" y="1551174"/>
              <a:ext cx="245272" cy="245272"/>
            </a:xfrm>
            <a:prstGeom prst="mathMultiply">
              <a:avLst>
                <a:gd name="adj1" fmla="val 8315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dirty="0" err="1"/>
            </a:p>
          </p:txBody>
        </p:sp>
      </p:grpSp>
      <p:sp>
        <p:nvSpPr>
          <p:cNvPr id="22" name="Rectangle 21"/>
          <p:cNvSpPr/>
          <p:nvPr userDrawn="1"/>
        </p:nvSpPr>
        <p:spPr bwMode="gray">
          <a:xfrm>
            <a:off x="-1591365" y="1405512"/>
            <a:ext cx="1531557" cy="180249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8000" bIns="108000" rtlCol="0" anchor="b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AkzoNobel Bullets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Only use the </a:t>
            </a:r>
            <a:r>
              <a:rPr lang="en-US" sz="900" b="0" u="sng">
                <a:solidFill>
                  <a:schemeClr val="tx1"/>
                </a:solidFill>
              </a:rPr>
              <a:t>List Level buttons</a:t>
            </a:r>
            <a:r>
              <a:rPr lang="en-US" sz="900" b="0">
                <a:solidFill>
                  <a:schemeClr val="tx1"/>
                </a:solidFill>
              </a:rPr>
              <a:t> to apply the</a:t>
            </a:r>
            <a:r>
              <a:rPr lang="en-US" sz="900" b="0" baseline="0">
                <a:solidFill>
                  <a:schemeClr val="tx1"/>
                </a:solidFill>
              </a:rPr>
              <a:t> </a:t>
            </a:r>
            <a:r>
              <a:rPr lang="en-US" sz="900" b="0" i="0" u="none" baseline="0">
                <a:solidFill>
                  <a:schemeClr val="tx1"/>
                </a:solidFill>
              </a:rPr>
              <a:t>AkzoNobel Branded Bullets</a:t>
            </a:r>
            <a:endParaRPr lang="en-US" sz="900" b="0" i="0" u="none" dirty="0">
              <a:solidFill>
                <a:schemeClr val="tx1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 bwMode="gray">
          <a:xfrm>
            <a:off x="-1493181" y="1531453"/>
            <a:ext cx="1335187" cy="795026"/>
            <a:chOff x="-1573454" y="1531453"/>
            <a:chExt cx="1335187" cy="795026"/>
          </a:xfrm>
        </p:grpSpPr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7" cstate="print"/>
            <a:srcRect l="18732" t="14956" r="50206" b="52163"/>
            <a:stretch>
              <a:fillRect/>
            </a:stretch>
          </p:blipFill>
          <p:spPr bwMode="gray">
            <a:xfrm>
              <a:off x="-1573454" y="1531453"/>
              <a:ext cx="1335187" cy="795026"/>
            </a:xfrm>
            <a:custGeom>
              <a:avLst/>
              <a:gdLst>
                <a:gd name="connsiteX0" fmla="*/ 0 w 2840306"/>
                <a:gd name="connsiteY0" fmla="*/ 0 h 1691236"/>
                <a:gd name="connsiteX1" fmla="*/ 2840306 w 2840306"/>
                <a:gd name="connsiteY1" fmla="*/ 0 h 1691236"/>
                <a:gd name="connsiteX2" fmla="*/ 2840306 w 2840306"/>
                <a:gd name="connsiteY2" fmla="*/ 1691236 h 1691236"/>
                <a:gd name="connsiteX3" fmla="*/ 0 w 2840306"/>
                <a:gd name="connsiteY3" fmla="*/ 1691236 h 169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0306" h="1691236">
                  <a:moveTo>
                    <a:pt x="0" y="0"/>
                  </a:moveTo>
                  <a:lnTo>
                    <a:pt x="2840306" y="0"/>
                  </a:lnTo>
                  <a:lnTo>
                    <a:pt x="2840306" y="1691236"/>
                  </a:lnTo>
                  <a:lnTo>
                    <a:pt x="0" y="1691236"/>
                  </a:lnTo>
                  <a:close/>
                </a:path>
              </a:pathLst>
            </a:custGeom>
          </p:spPr>
        </p:pic>
        <p:sp>
          <p:nvSpPr>
            <p:cNvPr id="25" name="Multiply 24"/>
            <p:cNvSpPr/>
            <p:nvPr/>
          </p:nvSpPr>
          <p:spPr bwMode="gray">
            <a:xfrm>
              <a:off x="-1571627" y="1551174"/>
              <a:ext cx="245272" cy="245272"/>
            </a:xfrm>
            <a:prstGeom prst="mathMultiply">
              <a:avLst>
                <a:gd name="adj1" fmla="val 8315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2970373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Header 1, white logo"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72" name="Freeform 71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8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9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0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1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70" name="Picture Placeholder 69"/>
          <p:cNvSpPr>
            <a:spLocks noGrp="1"/>
          </p:cNvSpPr>
          <p:nvPr>
            <p:ph type="pic" sz="quarter" idx="17"/>
          </p:nvPr>
        </p:nvSpPr>
        <p:spPr bwMode="gray">
          <a:xfrm>
            <a:off x="0" y="-12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7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7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7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7" y="411834"/>
                  <a:pt x="6563877" y="411834"/>
                  <a:pt x="6563877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360000" y="334800"/>
            <a:ext cx="5688000" cy="600710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  <p:grpSp>
        <p:nvGrpSpPr>
          <p:cNvPr id="32" name="Group 31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34" name="Rectangle 33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43" name="Rectangle 42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49" name="Rectangle 48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50" name="Rectangle 49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51" name="Straight Arrow Connector 50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>
              <a:stCxn id="44" idx="0"/>
              <a:endCxn id="44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>
              <a:stCxn id="44" idx="3"/>
              <a:endCxn id="44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Oval 55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10791112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Header 2, white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72" name="Freeform 71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8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9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0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1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86" name="Picture Placeholder 85"/>
          <p:cNvSpPr>
            <a:spLocks noGrp="1"/>
          </p:cNvSpPr>
          <p:nvPr>
            <p:ph type="pic" sz="quarter" idx="18"/>
          </p:nvPr>
        </p:nvSpPr>
        <p:spPr bwMode="gray">
          <a:xfrm>
            <a:off x="0" y="-12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7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7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7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7" y="411834"/>
                  <a:pt x="6563877" y="411834"/>
                  <a:pt x="6563877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360000" y="334800"/>
            <a:ext cx="4122000" cy="946958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  <p:grpSp>
        <p:nvGrpSpPr>
          <p:cNvPr id="32" name="Group 31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34" name="Rectangle 33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43" name="Rectangle 42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49" name="Rectangle 48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50" name="Rectangle 49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51" name="Straight Arrow Connector 50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>
              <a:stCxn id="44" idx="0"/>
              <a:endCxn id="44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>
              <a:stCxn id="44" idx="3"/>
              <a:endCxn id="44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55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56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8051211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Header, blue logo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55" name="Freeform 54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6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7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72" name="Picture Placeholder 71"/>
          <p:cNvSpPr>
            <a:spLocks noGrp="1"/>
          </p:cNvSpPr>
          <p:nvPr>
            <p:ph type="pic" sz="quarter" idx="18"/>
          </p:nvPr>
        </p:nvSpPr>
        <p:spPr bwMode="gray">
          <a:xfrm>
            <a:off x="0" y="-12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7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7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7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7" y="411834"/>
                  <a:pt x="6563877" y="411834"/>
                  <a:pt x="6563877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334800"/>
            <a:ext cx="5688000" cy="600710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/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  <p:grpSp>
        <p:nvGrpSpPr>
          <p:cNvPr id="32" name="Group 31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34" name="Rectangle 33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43" name="Rectangle 42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50" name="Rectangle 49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51" name="Rectangle 50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52" name="Straight Arrow Connector 51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>
              <a:stCxn id="45" idx="0"/>
              <a:endCxn id="45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>
              <a:stCxn id="45" idx="3"/>
              <a:endCxn id="45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Oval 68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776639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Header 2, blue logo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55" name="Freeform 54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6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71" name="Picture Placeholder 70"/>
          <p:cNvSpPr>
            <a:spLocks noGrp="1"/>
          </p:cNvSpPr>
          <p:nvPr>
            <p:ph type="pic" sz="quarter" idx="18"/>
          </p:nvPr>
        </p:nvSpPr>
        <p:spPr bwMode="gray">
          <a:xfrm>
            <a:off x="0" y="-12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7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7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7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7" y="411834"/>
                  <a:pt x="6563877" y="411834"/>
                  <a:pt x="6563877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Title 1"/>
          <p:cNvSpPr>
            <a:spLocks noGrp="1"/>
          </p:cNvSpPr>
          <p:nvPr>
            <p:ph type="title"/>
          </p:nvPr>
        </p:nvSpPr>
        <p:spPr bwMode="gray">
          <a:xfrm>
            <a:off x="360000" y="334800"/>
            <a:ext cx="4122000" cy="946958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grpSp>
        <p:nvGrpSpPr>
          <p:cNvPr id="32" name="Group 31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34" name="Rectangle 33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51" name="Rectangle 50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52" name="Rectangle 51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53" name="Straight Arrow Connector 52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>
              <a:stCxn id="46" idx="0"/>
              <a:endCxn id="46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>
              <a:stCxn id="46" idx="3"/>
              <a:endCxn id="46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Oval 68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9619558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Slim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 bwMode="gray">
          <a:xfrm>
            <a:off x="352424" y="1298829"/>
            <a:ext cx="6292101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 bwMode="gray">
          <a:xfrm>
            <a:off x="6793575" y="1298832"/>
            <a:ext cx="2350426" cy="4703999"/>
          </a:xfrm>
          <a:noFill/>
        </p:spPr>
        <p:txBody>
          <a:bodyPr/>
          <a:lstStyle>
            <a:lvl1pPr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30030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 bwMode="gray">
          <a:xfrm>
            <a:off x="1" y="1298829"/>
            <a:ext cx="6644525" cy="4704000"/>
          </a:xfrm>
        </p:spPr>
        <p:txBody>
          <a:bodyPr/>
          <a:lstStyle>
            <a:lvl1pPr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 bwMode="gray">
          <a:xfrm>
            <a:off x="679357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8645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81520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Image">
    <p:bg bwMode="gray">
      <p:bgPr>
        <a:gradFill>
          <a:gsLst>
            <a:gs pos="10000">
              <a:srgbClr val="E4312C"/>
            </a:gs>
            <a:gs pos="90000">
              <a:srgbClr val="F18E0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/>
          <p:cNvSpPr/>
          <p:nvPr/>
        </p:nvSpPr>
        <p:spPr bwMode="gray">
          <a:xfrm>
            <a:off x="0" y="-1"/>
            <a:ext cx="9144000" cy="2820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60000" y="441663"/>
            <a:ext cx="7128000" cy="1080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algn="l" defTabSz="1219170" rtl="0" eaLnBrk="1" latinLnBrk="0" hangingPunct="1">
              <a:lnSpc>
                <a:spcPct val="80000"/>
              </a:lnSpc>
              <a:spcBef>
                <a:spcPts val="0"/>
              </a:spcBef>
              <a:defRPr lang="en-GB" sz="40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0001" y="1588923"/>
            <a:ext cx="4500000" cy="648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20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subtitle style</a:t>
            </a:r>
            <a:endParaRPr lang="en-GB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0"/>
          </p:nvPr>
        </p:nvSpPr>
        <p:spPr bwMode="gray">
          <a:xfrm>
            <a:off x="0" y="2820478"/>
            <a:ext cx="9144000" cy="403752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 bwMode="gray">
          <a:xfrm>
            <a:off x="0" y="1689100"/>
            <a:ext cx="9144000" cy="699756"/>
            <a:chOff x="2087597" y="1250423"/>
            <a:chExt cx="7056403" cy="541219"/>
          </a:xfrm>
        </p:grpSpPr>
        <p:grpSp>
          <p:nvGrpSpPr>
            <p:cNvPr id="23" name="Group 22"/>
            <p:cNvGrpSpPr/>
            <p:nvPr/>
          </p:nvGrpSpPr>
          <p:grpSpPr bwMode="gray">
            <a:xfrm>
              <a:off x="6065072" y="1250423"/>
              <a:ext cx="2851590" cy="534134"/>
              <a:chOff x="6082760" y="2229099"/>
              <a:chExt cx="2851590" cy="534134"/>
            </a:xfrm>
          </p:grpSpPr>
          <p:sp>
            <p:nvSpPr>
              <p:cNvPr id="25" name="AutoShape 21"/>
              <p:cNvSpPr>
                <a:spLocks noChangeAspect="1" noChangeArrowheads="1" noTextEdit="1"/>
              </p:cNvSpPr>
              <p:nvPr/>
            </p:nvSpPr>
            <p:spPr bwMode="gray">
              <a:xfrm>
                <a:off x="6082760" y="2230248"/>
                <a:ext cx="2848718" cy="53298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6" name="Freeform 23"/>
              <p:cNvSpPr>
                <a:spLocks noEditPoints="1"/>
              </p:cNvSpPr>
              <p:nvPr/>
            </p:nvSpPr>
            <p:spPr bwMode="gray">
              <a:xfrm>
                <a:off x="7684590" y="2229099"/>
                <a:ext cx="1249760" cy="532985"/>
              </a:xfrm>
              <a:custGeom>
                <a:avLst/>
                <a:gdLst/>
                <a:ahLst/>
                <a:cxnLst>
                  <a:cxn ang="0">
                    <a:pos x="898" y="12"/>
                  </a:cxn>
                  <a:cxn ang="0">
                    <a:pos x="882" y="34"/>
                  </a:cxn>
                  <a:cxn ang="0">
                    <a:pos x="865" y="65"/>
                  </a:cxn>
                  <a:cxn ang="0">
                    <a:pos x="872" y="23"/>
                  </a:cxn>
                  <a:cxn ang="0">
                    <a:pos x="869" y="1"/>
                  </a:cxn>
                  <a:cxn ang="0">
                    <a:pos x="857" y="38"/>
                  </a:cxn>
                  <a:cxn ang="0">
                    <a:pos x="848" y="76"/>
                  </a:cxn>
                  <a:cxn ang="0">
                    <a:pos x="845" y="17"/>
                  </a:cxn>
                  <a:cxn ang="0">
                    <a:pos x="833" y="31"/>
                  </a:cxn>
                  <a:cxn ang="0">
                    <a:pos x="834" y="63"/>
                  </a:cxn>
                  <a:cxn ang="0">
                    <a:pos x="832" y="59"/>
                  </a:cxn>
                  <a:cxn ang="0">
                    <a:pos x="818" y="33"/>
                  </a:cxn>
                  <a:cxn ang="0">
                    <a:pos x="819" y="69"/>
                  </a:cxn>
                  <a:cxn ang="0">
                    <a:pos x="798" y="105"/>
                  </a:cxn>
                  <a:cxn ang="0">
                    <a:pos x="750" y="107"/>
                  </a:cxn>
                  <a:cxn ang="0">
                    <a:pos x="633" y="184"/>
                  </a:cxn>
                  <a:cxn ang="0">
                    <a:pos x="496" y="256"/>
                  </a:cxn>
                  <a:cxn ang="0">
                    <a:pos x="536" y="219"/>
                  </a:cxn>
                  <a:cxn ang="0">
                    <a:pos x="322" y="389"/>
                  </a:cxn>
                  <a:cxn ang="0">
                    <a:pos x="423" y="393"/>
                  </a:cxn>
                  <a:cxn ang="0">
                    <a:pos x="418" y="346"/>
                  </a:cxn>
                  <a:cxn ang="0">
                    <a:pos x="645" y="268"/>
                  </a:cxn>
                  <a:cxn ang="0">
                    <a:pos x="766" y="146"/>
                  </a:cxn>
                  <a:cxn ang="0">
                    <a:pos x="830" y="108"/>
                  </a:cxn>
                  <a:cxn ang="0">
                    <a:pos x="853" y="91"/>
                  </a:cxn>
                  <a:cxn ang="0">
                    <a:pos x="884" y="56"/>
                  </a:cxn>
                  <a:cxn ang="0">
                    <a:pos x="915" y="9"/>
                  </a:cxn>
                  <a:cxn ang="0">
                    <a:pos x="417" y="125"/>
                  </a:cxn>
                  <a:cxn ang="0">
                    <a:pos x="425" y="117"/>
                  </a:cxn>
                  <a:cxn ang="0">
                    <a:pos x="401" y="109"/>
                  </a:cxn>
                  <a:cxn ang="0">
                    <a:pos x="417" y="125"/>
                  </a:cxn>
                  <a:cxn ang="0">
                    <a:pos x="356" y="110"/>
                  </a:cxn>
                  <a:cxn ang="0">
                    <a:pos x="355" y="147"/>
                  </a:cxn>
                  <a:cxn ang="0">
                    <a:pos x="351" y="135"/>
                  </a:cxn>
                  <a:cxn ang="0">
                    <a:pos x="335" y="119"/>
                  </a:cxn>
                  <a:cxn ang="0">
                    <a:pos x="435" y="213"/>
                  </a:cxn>
                  <a:cxn ang="0">
                    <a:pos x="361" y="234"/>
                  </a:cxn>
                  <a:cxn ang="0">
                    <a:pos x="369" y="209"/>
                  </a:cxn>
                  <a:cxn ang="0">
                    <a:pos x="372" y="183"/>
                  </a:cxn>
                  <a:cxn ang="0">
                    <a:pos x="392" y="172"/>
                  </a:cxn>
                  <a:cxn ang="0">
                    <a:pos x="377" y="163"/>
                  </a:cxn>
                  <a:cxn ang="0">
                    <a:pos x="400" y="164"/>
                  </a:cxn>
                  <a:cxn ang="0">
                    <a:pos x="388" y="153"/>
                  </a:cxn>
                  <a:cxn ang="0">
                    <a:pos x="396" y="139"/>
                  </a:cxn>
                  <a:cxn ang="0">
                    <a:pos x="369" y="88"/>
                  </a:cxn>
                  <a:cxn ang="0">
                    <a:pos x="319" y="39"/>
                  </a:cxn>
                  <a:cxn ang="0">
                    <a:pos x="275" y="91"/>
                  </a:cxn>
                  <a:cxn ang="0">
                    <a:pos x="288" y="98"/>
                  </a:cxn>
                  <a:cxn ang="0">
                    <a:pos x="293" y="147"/>
                  </a:cxn>
                  <a:cxn ang="0">
                    <a:pos x="292" y="276"/>
                  </a:cxn>
                  <a:cxn ang="0">
                    <a:pos x="278" y="272"/>
                  </a:cxn>
                  <a:cxn ang="0">
                    <a:pos x="248" y="289"/>
                  </a:cxn>
                  <a:cxn ang="0">
                    <a:pos x="186" y="332"/>
                  </a:cxn>
                  <a:cxn ang="0">
                    <a:pos x="119" y="365"/>
                  </a:cxn>
                  <a:cxn ang="0">
                    <a:pos x="267" y="393"/>
                  </a:cxn>
                  <a:cxn ang="0">
                    <a:pos x="756" y="99"/>
                  </a:cxn>
                  <a:cxn ang="0">
                    <a:pos x="805" y="78"/>
                  </a:cxn>
                  <a:cxn ang="0">
                    <a:pos x="791" y="68"/>
                  </a:cxn>
                  <a:cxn ang="0">
                    <a:pos x="807" y="34"/>
                  </a:cxn>
                  <a:cxn ang="0">
                    <a:pos x="783" y="45"/>
                  </a:cxn>
                  <a:cxn ang="0">
                    <a:pos x="754" y="98"/>
                  </a:cxn>
                </a:cxnLst>
                <a:rect l="0" t="0" r="r" b="b"/>
                <a:pathLst>
                  <a:path w="921" h="393">
                    <a:moveTo>
                      <a:pt x="910" y="2"/>
                    </a:moveTo>
                    <a:cubicBezTo>
                      <a:pt x="906" y="3"/>
                      <a:pt x="902" y="6"/>
                      <a:pt x="898" y="12"/>
                    </a:cubicBezTo>
                    <a:cubicBezTo>
                      <a:pt x="896" y="14"/>
                      <a:pt x="892" y="21"/>
                      <a:pt x="890" y="26"/>
                    </a:cubicBezTo>
                    <a:cubicBezTo>
                      <a:pt x="886" y="29"/>
                      <a:pt x="885" y="31"/>
                      <a:pt x="882" y="34"/>
                    </a:cubicBezTo>
                    <a:cubicBezTo>
                      <a:pt x="879" y="37"/>
                      <a:pt x="875" y="42"/>
                      <a:pt x="874" y="43"/>
                    </a:cubicBezTo>
                    <a:cubicBezTo>
                      <a:pt x="872" y="50"/>
                      <a:pt x="865" y="65"/>
                      <a:pt x="865" y="65"/>
                    </a:cubicBezTo>
                    <a:cubicBezTo>
                      <a:pt x="866" y="58"/>
                      <a:pt x="872" y="41"/>
                      <a:pt x="873" y="37"/>
                    </a:cubicBezTo>
                    <a:cubicBezTo>
                      <a:pt x="874" y="33"/>
                      <a:pt x="872" y="27"/>
                      <a:pt x="872" y="23"/>
                    </a:cubicBezTo>
                    <a:cubicBezTo>
                      <a:pt x="871" y="19"/>
                      <a:pt x="871" y="15"/>
                      <a:pt x="871" y="12"/>
                    </a:cubicBezTo>
                    <a:cubicBezTo>
                      <a:pt x="871" y="10"/>
                      <a:pt x="873" y="0"/>
                      <a:pt x="869" y="1"/>
                    </a:cubicBezTo>
                    <a:cubicBezTo>
                      <a:pt x="866" y="1"/>
                      <a:pt x="860" y="3"/>
                      <a:pt x="858" y="12"/>
                    </a:cubicBezTo>
                    <a:cubicBezTo>
                      <a:pt x="857" y="18"/>
                      <a:pt x="858" y="27"/>
                      <a:pt x="857" y="38"/>
                    </a:cubicBezTo>
                    <a:cubicBezTo>
                      <a:pt x="857" y="40"/>
                      <a:pt x="855" y="43"/>
                      <a:pt x="854" y="50"/>
                    </a:cubicBezTo>
                    <a:cubicBezTo>
                      <a:pt x="852" y="57"/>
                      <a:pt x="850" y="68"/>
                      <a:pt x="848" y="76"/>
                    </a:cubicBezTo>
                    <a:cubicBezTo>
                      <a:pt x="848" y="73"/>
                      <a:pt x="851" y="56"/>
                      <a:pt x="851" y="49"/>
                    </a:cubicBezTo>
                    <a:cubicBezTo>
                      <a:pt x="852" y="42"/>
                      <a:pt x="846" y="20"/>
                      <a:pt x="845" y="17"/>
                    </a:cubicBezTo>
                    <a:cubicBezTo>
                      <a:pt x="845" y="14"/>
                      <a:pt x="844" y="13"/>
                      <a:pt x="842" y="13"/>
                    </a:cubicBezTo>
                    <a:cubicBezTo>
                      <a:pt x="837" y="12"/>
                      <a:pt x="832" y="20"/>
                      <a:pt x="833" y="31"/>
                    </a:cubicBezTo>
                    <a:cubicBezTo>
                      <a:pt x="834" y="34"/>
                      <a:pt x="838" y="44"/>
                      <a:pt x="838" y="49"/>
                    </a:cubicBezTo>
                    <a:cubicBezTo>
                      <a:pt x="837" y="54"/>
                      <a:pt x="835" y="60"/>
                      <a:pt x="834" y="63"/>
                    </a:cubicBezTo>
                    <a:cubicBezTo>
                      <a:pt x="834" y="70"/>
                      <a:pt x="833" y="80"/>
                      <a:pt x="832" y="85"/>
                    </a:cubicBezTo>
                    <a:cubicBezTo>
                      <a:pt x="833" y="81"/>
                      <a:pt x="832" y="62"/>
                      <a:pt x="832" y="59"/>
                    </a:cubicBezTo>
                    <a:cubicBezTo>
                      <a:pt x="831" y="56"/>
                      <a:pt x="826" y="43"/>
                      <a:pt x="823" y="35"/>
                    </a:cubicBezTo>
                    <a:cubicBezTo>
                      <a:pt x="822" y="32"/>
                      <a:pt x="820" y="32"/>
                      <a:pt x="818" y="33"/>
                    </a:cubicBezTo>
                    <a:cubicBezTo>
                      <a:pt x="812" y="36"/>
                      <a:pt x="812" y="47"/>
                      <a:pt x="813" y="52"/>
                    </a:cubicBezTo>
                    <a:cubicBezTo>
                      <a:pt x="814" y="54"/>
                      <a:pt x="817" y="62"/>
                      <a:pt x="819" y="69"/>
                    </a:cubicBezTo>
                    <a:cubicBezTo>
                      <a:pt x="815" y="100"/>
                      <a:pt x="808" y="102"/>
                      <a:pt x="808" y="102"/>
                    </a:cubicBezTo>
                    <a:cubicBezTo>
                      <a:pt x="808" y="102"/>
                      <a:pt x="806" y="104"/>
                      <a:pt x="798" y="105"/>
                    </a:cubicBezTo>
                    <a:cubicBezTo>
                      <a:pt x="784" y="108"/>
                      <a:pt x="759" y="114"/>
                      <a:pt x="752" y="107"/>
                    </a:cubicBezTo>
                    <a:cubicBezTo>
                      <a:pt x="752" y="107"/>
                      <a:pt x="751" y="106"/>
                      <a:pt x="750" y="107"/>
                    </a:cubicBezTo>
                    <a:cubicBezTo>
                      <a:pt x="748" y="108"/>
                      <a:pt x="730" y="124"/>
                      <a:pt x="719" y="132"/>
                    </a:cubicBezTo>
                    <a:cubicBezTo>
                      <a:pt x="684" y="158"/>
                      <a:pt x="661" y="165"/>
                      <a:pt x="633" y="184"/>
                    </a:cubicBezTo>
                    <a:cubicBezTo>
                      <a:pt x="602" y="234"/>
                      <a:pt x="572" y="250"/>
                      <a:pt x="533" y="261"/>
                    </a:cubicBezTo>
                    <a:cubicBezTo>
                      <a:pt x="516" y="266"/>
                      <a:pt x="500" y="265"/>
                      <a:pt x="496" y="256"/>
                    </a:cubicBezTo>
                    <a:cubicBezTo>
                      <a:pt x="489" y="235"/>
                      <a:pt x="517" y="224"/>
                      <a:pt x="536" y="221"/>
                    </a:cubicBezTo>
                    <a:cubicBezTo>
                      <a:pt x="537" y="221"/>
                      <a:pt x="537" y="219"/>
                      <a:pt x="536" y="219"/>
                    </a:cubicBezTo>
                    <a:cubicBezTo>
                      <a:pt x="527" y="214"/>
                      <a:pt x="516" y="211"/>
                      <a:pt x="503" y="211"/>
                    </a:cubicBezTo>
                    <a:cubicBezTo>
                      <a:pt x="405" y="209"/>
                      <a:pt x="313" y="326"/>
                      <a:pt x="322" y="389"/>
                    </a:cubicBezTo>
                    <a:cubicBezTo>
                      <a:pt x="322" y="390"/>
                      <a:pt x="322" y="392"/>
                      <a:pt x="322" y="393"/>
                    </a:cubicBezTo>
                    <a:cubicBezTo>
                      <a:pt x="423" y="393"/>
                      <a:pt x="423" y="393"/>
                      <a:pt x="423" y="393"/>
                    </a:cubicBezTo>
                    <a:cubicBezTo>
                      <a:pt x="437" y="380"/>
                      <a:pt x="452" y="363"/>
                      <a:pt x="467" y="342"/>
                    </a:cubicBezTo>
                    <a:cubicBezTo>
                      <a:pt x="467" y="342"/>
                      <a:pt x="440" y="347"/>
                      <a:pt x="418" y="346"/>
                    </a:cubicBezTo>
                    <a:cubicBezTo>
                      <a:pt x="418" y="346"/>
                      <a:pt x="448" y="340"/>
                      <a:pt x="491" y="311"/>
                    </a:cubicBezTo>
                    <a:cubicBezTo>
                      <a:pt x="562" y="329"/>
                      <a:pt x="626" y="237"/>
                      <a:pt x="645" y="268"/>
                    </a:cubicBezTo>
                    <a:cubicBezTo>
                      <a:pt x="645" y="269"/>
                      <a:pt x="647" y="268"/>
                      <a:pt x="647" y="268"/>
                    </a:cubicBezTo>
                    <a:cubicBezTo>
                      <a:pt x="704" y="229"/>
                      <a:pt x="726" y="180"/>
                      <a:pt x="766" y="146"/>
                    </a:cubicBezTo>
                    <a:cubicBezTo>
                      <a:pt x="784" y="131"/>
                      <a:pt x="787" y="125"/>
                      <a:pt x="818" y="117"/>
                    </a:cubicBezTo>
                    <a:cubicBezTo>
                      <a:pt x="827" y="114"/>
                      <a:pt x="827" y="111"/>
                      <a:pt x="830" y="108"/>
                    </a:cubicBezTo>
                    <a:cubicBezTo>
                      <a:pt x="834" y="103"/>
                      <a:pt x="840" y="107"/>
                      <a:pt x="844" y="100"/>
                    </a:cubicBezTo>
                    <a:cubicBezTo>
                      <a:pt x="846" y="97"/>
                      <a:pt x="844" y="92"/>
                      <a:pt x="853" y="91"/>
                    </a:cubicBezTo>
                    <a:cubicBezTo>
                      <a:pt x="861" y="89"/>
                      <a:pt x="862" y="81"/>
                      <a:pt x="866" y="77"/>
                    </a:cubicBezTo>
                    <a:cubicBezTo>
                      <a:pt x="876" y="65"/>
                      <a:pt x="875" y="66"/>
                      <a:pt x="884" y="56"/>
                    </a:cubicBezTo>
                    <a:cubicBezTo>
                      <a:pt x="888" y="52"/>
                      <a:pt x="901" y="35"/>
                      <a:pt x="903" y="33"/>
                    </a:cubicBezTo>
                    <a:cubicBezTo>
                      <a:pt x="905" y="29"/>
                      <a:pt x="909" y="16"/>
                      <a:pt x="915" y="9"/>
                    </a:cubicBezTo>
                    <a:cubicBezTo>
                      <a:pt x="921" y="3"/>
                      <a:pt x="916" y="0"/>
                      <a:pt x="910" y="2"/>
                    </a:cubicBezTo>
                    <a:close/>
                    <a:moveTo>
                      <a:pt x="417" y="125"/>
                    </a:moveTo>
                    <a:cubicBezTo>
                      <a:pt x="418" y="125"/>
                      <a:pt x="419" y="125"/>
                      <a:pt x="420" y="124"/>
                    </a:cubicBezTo>
                    <a:cubicBezTo>
                      <a:pt x="422" y="122"/>
                      <a:pt x="425" y="119"/>
                      <a:pt x="425" y="117"/>
                    </a:cubicBezTo>
                    <a:cubicBezTo>
                      <a:pt x="425" y="113"/>
                      <a:pt x="419" y="107"/>
                      <a:pt x="409" y="107"/>
                    </a:cubicBezTo>
                    <a:cubicBezTo>
                      <a:pt x="405" y="106"/>
                      <a:pt x="404" y="107"/>
                      <a:pt x="401" y="109"/>
                    </a:cubicBezTo>
                    <a:cubicBezTo>
                      <a:pt x="398" y="113"/>
                      <a:pt x="401" y="121"/>
                      <a:pt x="402" y="123"/>
                    </a:cubicBezTo>
                    <a:cubicBezTo>
                      <a:pt x="410" y="123"/>
                      <a:pt x="415" y="125"/>
                      <a:pt x="417" y="125"/>
                    </a:cubicBezTo>
                    <a:close/>
                    <a:moveTo>
                      <a:pt x="343" y="106"/>
                    </a:moveTo>
                    <a:cubicBezTo>
                      <a:pt x="343" y="106"/>
                      <a:pt x="347" y="110"/>
                      <a:pt x="356" y="110"/>
                    </a:cubicBezTo>
                    <a:cubicBezTo>
                      <a:pt x="366" y="110"/>
                      <a:pt x="370" y="112"/>
                      <a:pt x="372" y="115"/>
                    </a:cubicBezTo>
                    <a:cubicBezTo>
                      <a:pt x="372" y="134"/>
                      <a:pt x="362" y="147"/>
                      <a:pt x="355" y="147"/>
                    </a:cubicBezTo>
                    <a:cubicBezTo>
                      <a:pt x="353" y="147"/>
                      <a:pt x="352" y="146"/>
                      <a:pt x="353" y="145"/>
                    </a:cubicBezTo>
                    <a:cubicBezTo>
                      <a:pt x="353" y="142"/>
                      <a:pt x="353" y="138"/>
                      <a:pt x="351" y="135"/>
                    </a:cubicBezTo>
                    <a:cubicBezTo>
                      <a:pt x="348" y="131"/>
                      <a:pt x="346" y="128"/>
                      <a:pt x="339" y="125"/>
                    </a:cubicBezTo>
                    <a:cubicBezTo>
                      <a:pt x="338" y="124"/>
                      <a:pt x="335" y="123"/>
                      <a:pt x="335" y="119"/>
                    </a:cubicBezTo>
                    <a:cubicBezTo>
                      <a:pt x="335" y="112"/>
                      <a:pt x="343" y="106"/>
                      <a:pt x="343" y="106"/>
                    </a:cubicBezTo>
                    <a:close/>
                    <a:moveTo>
                      <a:pt x="435" y="213"/>
                    </a:moveTo>
                    <a:cubicBezTo>
                      <a:pt x="437" y="212"/>
                      <a:pt x="437" y="211"/>
                      <a:pt x="435" y="211"/>
                    </a:cubicBezTo>
                    <a:cubicBezTo>
                      <a:pt x="410" y="214"/>
                      <a:pt x="385" y="223"/>
                      <a:pt x="361" y="234"/>
                    </a:cubicBezTo>
                    <a:cubicBezTo>
                      <a:pt x="360" y="232"/>
                      <a:pt x="360" y="231"/>
                      <a:pt x="360" y="227"/>
                    </a:cubicBezTo>
                    <a:cubicBezTo>
                      <a:pt x="360" y="220"/>
                      <a:pt x="361" y="209"/>
                      <a:pt x="369" y="209"/>
                    </a:cubicBezTo>
                    <a:cubicBezTo>
                      <a:pt x="387" y="209"/>
                      <a:pt x="397" y="199"/>
                      <a:pt x="397" y="199"/>
                    </a:cubicBezTo>
                    <a:cubicBezTo>
                      <a:pt x="397" y="199"/>
                      <a:pt x="370" y="195"/>
                      <a:pt x="372" y="183"/>
                    </a:cubicBezTo>
                    <a:cubicBezTo>
                      <a:pt x="373" y="180"/>
                      <a:pt x="375" y="178"/>
                      <a:pt x="378" y="179"/>
                    </a:cubicBezTo>
                    <a:cubicBezTo>
                      <a:pt x="388" y="181"/>
                      <a:pt x="392" y="172"/>
                      <a:pt x="392" y="172"/>
                    </a:cubicBezTo>
                    <a:cubicBezTo>
                      <a:pt x="392" y="172"/>
                      <a:pt x="382" y="170"/>
                      <a:pt x="378" y="167"/>
                    </a:cubicBezTo>
                    <a:cubicBezTo>
                      <a:pt x="377" y="166"/>
                      <a:pt x="376" y="165"/>
                      <a:pt x="377" y="163"/>
                    </a:cubicBezTo>
                    <a:cubicBezTo>
                      <a:pt x="379" y="162"/>
                      <a:pt x="381" y="160"/>
                      <a:pt x="384" y="161"/>
                    </a:cubicBezTo>
                    <a:cubicBezTo>
                      <a:pt x="392" y="163"/>
                      <a:pt x="397" y="164"/>
                      <a:pt x="400" y="164"/>
                    </a:cubicBezTo>
                    <a:cubicBezTo>
                      <a:pt x="402" y="164"/>
                      <a:pt x="403" y="162"/>
                      <a:pt x="401" y="162"/>
                    </a:cubicBezTo>
                    <a:cubicBezTo>
                      <a:pt x="398" y="160"/>
                      <a:pt x="394" y="156"/>
                      <a:pt x="388" y="153"/>
                    </a:cubicBezTo>
                    <a:cubicBezTo>
                      <a:pt x="397" y="148"/>
                      <a:pt x="403" y="140"/>
                      <a:pt x="403" y="140"/>
                    </a:cubicBezTo>
                    <a:cubicBezTo>
                      <a:pt x="403" y="140"/>
                      <a:pt x="400" y="141"/>
                      <a:pt x="396" y="139"/>
                    </a:cubicBezTo>
                    <a:cubicBezTo>
                      <a:pt x="390" y="136"/>
                      <a:pt x="390" y="109"/>
                      <a:pt x="386" y="103"/>
                    </a:cubicBezTo>
                    <a:cubicBezTo>
                      <a:pt x="382" y="96"/>
                      <a:pt x="374" y="90"/>
                      <a:pt x="369" y="88"/>
                    </a:cubicBezTo>
                    <a:cubicBezTo>
                      <a:pt x="362" y="85"/>
                      <a:pt x="356" y="84"/>
                      <a:pt x="353" y="81"/>
                    </a:cubicBezTo>
                    <a:cubicBezTo>
                      <a:pt x="347" y="75"/>
                      <a:pt x="357" y="39"/>
                      <a:pt x="319" y="39"/>
                    </a:cubicBezTo>
                    <a:cubicBezTo>
                      <a:pt x="295" y="39"/>
                      <a:pt x="279" y="58"/>
                      <a:pt x="275" y="77"/>
                    </a:cubicBezTo>
                    <a:cubicBezTo>
                      <a:pt x="274" y="84"/>
                      <a:pt x="275" y="91"/>
                      <a:pt x="275" y="91"/>
                    </a:cubicBezTo>
                    <a:cubicBezTo>
                      <a:pt x="275" y="91"/>
                      <a:pt x="295" y="87"/>
                      <a:pt x="302" y="107"/>
                    </a:cubicBezTo>
                    <a:cubicBezTo>
                      <a:pt x="296" y="101"/>
                      <a:pt x="290" y="98"/>
                      <a:pt x="288" y="98"/>
                    </a:cubicBezTo>
                    <a:cubicBezTo>
                      <a:pt x="281" y="97"/>
                      <a:pt x="276" y="101"/>
                      <a:pt x="275" y="108"/>
                    </a:cubicBezTo>
                    <a:cubicBezTo>
                      <a:pt x="271" y="128"/>
                      <a:pt x="291" y="145"/>
                      <a:pt x="293" y="147"/>
                    </a:cubicBezTo>
                    <a:cubicBezTo>
                      <a:pt x="289" y="187"/>
                      <a:pt x="307" y="212"/>
                      <a:pt x="308" y="244"/>
                    </a:cubicBezTo>
                    <a:cubicBezTo>
                      <a:pt x="309" y="265"/>
                      <a:pt x="295" y="274"/>
                      <a:pt x="292" y="276"/>
                    </a:cubicBezTo>
                    <a:cubicBezTo>
                      <a:pt x="275" y="293"/>
                      <a:pt x="271" y="300"/>
                      <a:pt x="266" y="314"/>
                    </a:cubicBezTo>
                    <a:cubicBezTo>
                      <a:pt x="266" y="303"/>
                      <a:pt x="269" y="289"/>
                      <a:pt x="278" y="272"/>
                    </a:cubicBezTo>
                    <a:cubicBezTo>
                      <a:pt x="279" y="271"/>
                      <a:pt x="279" y="270"/>
                      <a:pt x="277" y="271"/>
                    </a:cubicBezTo>
                    <a:cubicBezTo>
                      <a:pt x="269" y="275"/>
                      <a:pt x="254" y="284"/>
                      <a:pt x="248" y="289"/>
                    </a:cubicBezTo>
                    <a:cubicBezTo>
                      <a:pt x="242" y="296"/>
                      <a:pt x="235" y="302"/>
                      <a:pt x="229" y="309"/>
                    </a:cubicBezTo>
                    <a:cubicBezTo>
                      <a:pt x="220" y="312"/>
                      <a:pt x="205" y="318"/>
                      <a:pt x="186" y="332"/>
                    </a:cubicBezTo>
                    <a:cubicBezTo>
                      <a:pt x="170" y="343"/>
                      <a:pt x="160" y="364"/>
                      <a:pt x="160" y="364"/>
                    </a:cubicBezTo>
                    <a:cubicBezTo>
                      <a:pt x="160" y="364"/>
                      <a:pt x="143" y="363"/>
                      <a:pt x="119" y="365"/>
                    </a:cubicBezTo>
                    <a:cubicBezTo>
                      <a:pt x="67" y="369"/>
                      <a:pt x="0" y="393"/>
                      <a:pt x="0" y="393"/>
                    </a:cubicBezTo>
                    <a:cubicBezTo>
                      <a:pt x="267" y="393"/>
                      <a:pt x="267" y="393"/>
                      <a:pt x="267" y="393"/>
                    </a:cubicBezTo>
                    <a:cubicBezTo>
                      <a:pt x="272" y="323"/>
                      <a:pt x="364" y="236"/>
                      <a:pt x="435" y="213"/>
                    </a:cubicBezTo>
                    <a:close/>
                    <a:moveTo>
                      <a:pt x="756" y="99"/>
                    </a:moveTo>
                    <a:cubicBezTo>
                      <a:pt x="764" y="95"/>
                      <a:pt x="775" y="94"/>
                      <a:pt x="786" y="88"/>
                    </a:cubicBezTo>
                    <a:cubicBezTo>
                      <a:pt x="793" y="85"/>
                      <a:pt x="795" y="84"/>
                      <a:pt x="805" y="78"/>
                    </a:cubicBezTo>
                    <a:cubicBezTo>
                      <a:pt x="806" y="77"/>
                      <a:pt x="806" y="76"/>
                      <a:pt x="804" y="76"/>
                    </a:cubicBezTo>
                    <a:cubicBezTo>
                      <a:pt x="799" y="76"/>
                      <a:pt x="791" y="74"/>
                      <a:pt x="791" y="68"/>
                    </a:cubicBezTo>
                    <a:cubicBezTo>
                      <a:pt x="790" y="62"/>
                      <a:pt x="792" y="55"/>
                      <a:pt x="797" y="49"/>
                    </a:cubicBezTo>
                    <a:cubicBezTo>
                      <a:pt x="800" y="46"/>
                      <a:pt x="807" y="40"/>
                      <a:pt x="807" y="34"/>
                    </a:cubicBezTo>
                    <a:cubicBezTo>
                      <a:pt x="807" y="23"/>
                      <a:pt x="802" y="22"/>
                      <a:pt x="797" y="22"/>
                    </a:cubicBezTo>
                    <a:cubicBezTo>
                      <a:pt x="797" y="32"/>
                      <a:pt x="787" y="41"/>
                      <a:pt x="783" y="45"/>
                    </a:cubicBezTo>
                    <a:cubicBezTo>
                      <a:pt x="771" y="60"/>
                      <a:pt x="759" y="65"/>
                      <a:pt x="758" y="80"/>
                    </a:cubicBezTo>
                    <a:cubicBezTo>
                      <a:pt x="758" y="85"/>
                      <a:pt x="755" y="94"/>
                      <a:pt x="754" y="98"/>
                    </a:cubicBezTo>
                    <a:cubicBezTo>
                      <a:pt x="754" y="100"/>
                      <a:pt x="755" y="100"/>
                      <a:pt x="756" y="99"/>
                    </a:cubicBezTo>
                    <a:close/>
                  </a:path>
                </a:pathLst>
              </a:custGeom>
              <a:blipFill dpi="0" rotWithShape="1">
                <a:blip r:embed="rId2" cstate="print"/>
                <a:srcRect/>
                <a:stretch>
                  <a:fillRect/>
                </a:stretch>
              </a:blip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grpSp>
            <p:nvGrpSpPr>
              <p:cNvPr id="27" name="Group 33"/>
              <p:cNvGrpSpPr>
                <a:grpSpLocks noChangeAspect="1"/>
              </p:cNvGrpSpPr>
              <p:nvPr/>
            </p:nvGrpSpPr>
            <p:grpSpPr bwMode="gray">
              <a:xfrm>
                <a:off x="6102428" y="2323691"/>
                <a:ext cx="1779160" cy="259200"/>
                <a:chOff x="1430338" y="-1666875"/>
                <a:chExt cx="4968876" cy="723900"/>
              </a:xfrm>
              <a:solidFill>
                <a:srgbClr val="005192"/>
              </a:solidFill>
            </p:grpSpPr>
            <p:sp>
              <p:nvSpPr>
                <p:cNvPr id="28" name="Freeform 27"/>
                <p:cNvSpPr>
                  <a:spLocks/>
                </p:cNvSpPr>
                <p:nvPr/>
              </p:nvSpPr>
              <p:spPr bwMode="gray">
                <a:xfrm>
                  <a:off x="2705101" y="-1463675"/>
                  <a:ext cx="447675" cy="509588"/>
                </a:xfrm>
                <a:custGeom>
                  <a:avLst/>
                  <a:gdLst/>
                  <a:ahLst/>
                  <a:cxnLst>
                    <a:cxn ang="0">
                      <a:pos x="2" y="136"/>
                    </a:cxn>
                    <a:cxn ang="0">
                      <a:pos x="104" y="136"/>
                    </a:cxn>
                    <a:cxn ang="0">
                      <a:pos x="119" y="120"/>
                    </a:cxn>
                    <a:cxn ang="0">
                      <a:pos x="119" y="112"/>
                    </a:cxn>
                    <a:cxn ang="0">
                      <a:pos x="93" y="113"/>
                    </a:cxn>
                    <a:cxn ang="0">
                      <a:pos x="59" y="113"/>
                    </a:cxn>
                    <a:cxn ang="0">
                      <a:pos x="118" y="0"/>
                    </a:cxn>
                    <a:cxn ang="0">
                      <a:pos x="2" y="0"/>
                    </a:cxn>
                    <a:cxn ang="0">
                      <a:pos x="2" y="23"/>
                    </a:cxn>
                    <a:cxn ang="0">
                      <a:pos x="54" y="23"/>
                    </a:cxn>
                    <a:cxn ang="0">
                      <a:pos x="5" y="116"/>
                    </a:cxn>
                    <a:cxn ang="0">
                      <a:pos x="2" y="136"/>
                    </a:cxn>
                  </a:cxnLst>
                  <a:rect l="0" t="0" r="r" b="b"/>
                  <a:pathLst>
                    <a:path w="119" h="136">
                      <a:moveTo>
                        <a:pt x="2" y="136"/>
                      </a:moveTo>
                      <a:cubicBezTo>
                        <a:pt x="104" y="136"/>
                        <a:pt x="104" y="136"/>
                        <a:pt x="104" y="136"/>
                      </a:cubicBezTo>
                      <a:cubicBezTo>
                        <a:pt x="113" y="136"/>
                        <a:pt x="119" y="129"/>
                        <a:pt x="119" y="120"/>
                      </a:cubicBezTo>
                      <a:cubicBezTo>
                        <a:pt x="119" y="112"/>
                        <a:pt x="119" y="112"/>
                        <a:pt x="119" y="112"/>
                      </a:cubicBezTo>
                      <a:cubicBezTo>
                        <a:pt x="115" y="113"/>
                        <a:pt x="107" y="113"/>
                        <a:pt x="93" y="113"/>
                      </a:cubicBezTo>
                      <a:cubicBezTo>
                        <a:pt x="59" y="113"/>
                        <a:pt x="59" y="113"/>
                        <a:pt x="59" y="113"/>
                      </a:cubicBezTo>
                      <a:cubicBezTo>
                        <a:pt x="118" y="0"/>
                        <a:pt x="118" y="0"/>
                        <a:pt x="118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23"/>
                        <a:pt x="2" y="23"/>
                        <a:pt x="2" y="23"/>
                      </a:cubicBezTo>
                      <a:cubicBezTo>
                        <a:pt x="54" y="23"/>
                        <a:pt x="54" y="23"/>
                        <a:pt x="54" y="23"/>
                      </a:cubicBezTo>
                      <a:cubicBezTo>
                        <a:pt x="5" y="116"/>
                        <a:pt x="5" y="116"/>
                        <a:pt x="5" y="116"/>
                      </a:cubicBezTo>
                      <a:cubicBezTo>
                        <a:pt x="1" y="124"/>
                        <a:pt x="0" y="131"/>
                        <a:pt x="2" y="136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29" name="Freeform 25"/>
                <p:cNvSpPr>
                  <a:spLocks/>
                </p:cNvSpPr>
                <p:nvPr/>
              </p:nvSpPr>
              <p:spPr bwMode="gray">
                <a:xfrm>
                  <a:off x="2327276" y="-1463675"/>
                  <a:ext cx="344488" cy="509588"/>
                </a:xfrm>
                <a:custGeom>
                  <a:avLst/>
                  <a:gdLst/>
                  <a:ahLst/>
                  <a:cxnLst>
                    <a:cxn ang="0">
                      <a:pos x="0" y="64"/>
                    </a:cxn>
                    <a:cxn ang="0">
                      <a:pos x="27" y="115"/>
                    </a:cxn>
                    <a:cxn ang="0">
                      <a:pos x="54" y="136"/>
                    </a:cxn>
                    <a:cxn ang="0">
                      <a:pos x="92" y="136"/>
                    </a:cxn>
                    <a:cxn ang="0">
                      <a:pos x="84" y="124"/>
                    </a:cxn>
                    <a:cxn ang="0">
                      <a:pos x="46" y="53"/>
                    </a:cxn>
                    <a:cxn ang="0">
                      <a:pos x="91" y="0"/>
                    </a:cxn>
                    <a:cxn ang="0">
                      <a:pos x="50" y="0"/>
                    </a:cxn>
                    <a:cxn ang="0">
                      <a:pos x="0" y="64"/>
                    </a:cxn>
                  </a:cxnLst>
                  <a:rect l="0" t="0" r="r" b="b"/>
                  <a:pathLst>
                    <a:path w="92" h="136">
                      <a:moveTo>
                        <a:pt x="0" y="64"/>
                      </a:moveTo>
                      <a:cubicBezTo>
                        <a:pt x="27" y="115"/>
                        <a:pt x="27" y="115"/>
                        <a:pt x="27" y="115"/>
                      </a:cubicBezTo>
                      <a:cubicBezTo>
                        <a:pt x="34" y="130"/>
                        <a:pt x="38" y="136"/>
                        <a:pt x="54" y="136"/>
                      </a:cubicBezTo>
                      <a:cubicBezTo>
                        <a:pt x="92" y="136"/>
                        <a:pt x="92" y="136"/>
                        <a:pt x="92" y="136"/>
                      </a:cubicBezTo>
                      <a:cubicBezTo>
                        <a:pt x="90" y="134"/>
                        <a:pt x="88" y="131"/>
                        <a:pt x="84" y="124"/>
                      </a:cubicBezTo>
                      <a:cubicBezTo>
                        <a:pt x="46" y="53"/>
                        <a:pt x="46" y="53"/>
                        <a:pt x="46" y="53"/>
                      </a:cubicBezTo>
                      <a:cubicBezTo>
                        <a:pt x="91" y="0"/>
                        <a:pt x="91" y="0"/>
                        <a:pt x="91" y="0"/>
                      </a:cubicBez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0" y="64"/>
                        <a:pt x="0" y="64"/>
                        <a:pt x="0" y="6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0" name="Freeform 26"/>
                <p:cNvSpPr>
                  <a:spLocks/>
                </p:cNvSpPr>
                <p:nvPr/>
              </p:nvSpPr>
              <p:spPr bwMode="gray">
                <a:xfrm>
                  <a:off x="2143126" y="-1666875"/>
                  <a:ext cx="173038" cy="712788"/>
                </a:xfrm>
                <a:custGeom>
                  <a:avLst/>
                  <a:gdLst/>
                  <a:ahLst/>
                  <a:cxnLst>
                    <a:cxn ang="0">
                      <a:pos x="0" y="190"/>
                    </a:cxn>
                    <a:cxn ang="0">
                      <a:pos x="46" y="190"/>
                    </a:cxn>
                    <a:cxn ang="0">
                      <a:pos x="46" y="28"/>
                    </a:cxn>
                    <a:cxn ang="0">
                      <a:pos x="17" y="0"/>
                    </a:cxn>
                    <a:cxn ang="0">
                      <a:pos x="0" y="0"/>
                    </a:cxn>
                    <a:cxn ang="0">
                      <a:pos x="0" y="190"/>
                    </a:cxn>
                  </a:cxnLst>
                  <a:rect l="0" t="0" r="r" b="b"/>
                  <a:pathLst>
                    <a:path w="46" h="190">
                      <a:moveTo>
                        <a:pt x="0" y="190"/>
                      </a:moveTo>
                      <a:cubicBezTo>
                        <a:pt x="46" y="190"/>
                        <a:pt x="46" y="190"/>
                        <a:pt x="46" y="190"/>
                      </a:cubicBezTo>
                      <a:cubicBezTo>
                        <a:pt x="46" y="28"/>
                        <a:pt x="46" y="28"/>
                        <a:pt x="46" y="28"/>
                      </a:cubicBezTo>
                      <a:cubicBezTo>
                        <a:pt x="46" y="11"/>
                        <a:pt x="34" y="0"/>
                        <a:pt x="1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90"/>
                        <a:pt x="0" y="190"/>
                        <a:pt x="0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1" name="Freeform 27"/>
                <p:cNvSpPr>
                  <a:spLocks noEditPoints="1"/>
                </p:cNvSpPr>
                <p:nvPr/>
              </p:nvSpPr>
              <p:spPr bwMode="gray">
                <a:xfrm>
                  <a:off x="1430338" y="-1614488"/>
                  <a:ext cx="652463" cy="660400"/>
                </a:xfrm>
                <a:custGeom>
                  <a:avLst/>
                  <a:gdLst/>
                  <a:ahLst/>
                  <a:cxnLst>
                    <a:cxn ang="0">
                      <a:pos x="52" y="111"/>
                    </a:cxn>
                    <a:cxn ang="0">
                      <a:pos x="77" y="37"/>
                    </a:cxn>
                    <a:cxn ang="0">
                      <a:pos x="100" y="111"/>
                    </a:cxn>
                    <a:cxn ang="0">
                      <a:pos x="52" y="111"/>
                    </a:cxn>
                    <a:cxn ang="0">
                      <a:pos x="169" y="164"/>
                    </a:cxn>
                    <a:cxn ang="0">
                      <a:pos x="122" y="24"/>
                    </a:cxn>
                    <a:cxn ang="0">
                      <a:pos x="87" y="0"/>
                    </a:cxn>
                    <a:cxn ang="0">
                      <a:pos x="65" y="0"/>
                    </a:cxn>
                    <a:cxn ang="0">
                      <a:pos x="0" y="176"/>
                    </a:cxn>
                    <a:cxn ang="0">
                      <a:pos x="29" y="176"/>
                    </a:cxn>
                    <a:cxn ang="0">
                      <a:pos x="44" y="133"/>
                    </a:cxn>
                    <a:cxn ang="0">
                      <a:pos x="107" y="133"/>
                    </a:cxn>
                    <a:cxn ang="0">
                      <a:pos x="116" y="161"/>
                    </a:cxn>
                    <a:cxn ang="0">
                      <a:pos x="135" y="176"/>
                    </a:cxn>
                    <a:cxn ang="0">
                      <a:pos x="174" y="176"/>
                    </a:cxn>
                    <a:cxn ang="0">
                      <a:pos x="169" y="164"/>
                    </a:cxn>
                  </a:cxnLst>
                  <a:rect l="0" t="0" r="r" b="b"/>
                  <a:pathLst>
                    <a:path w="174" h="176">
                      <a:moveTo>
                        <a:pt x="52" y="111"/>
                      </a:moveTo>
                      <a:cubicBezTo>
                        <a:pt x="77" y="37"/>
                        <a:pt x="77" y="37"/>
                        <a:pt x="77" y="37"/>
                      </a:cubicBezTo>
                      <a:cubicBezTo>
                        <a:pt x="100" y="111"/>
                        <a:pt x="100" y="111"/>
                        <a:pt x="100" y="111"/>
                      </a:cubicBezTo>
                      <a:cubicBezTo>
                        <a:pt x="52" y="111"/>
                        <a:pt x="52" y="111"/>
                        <a:pt x="52" y="111"/>
                      </a:cubicBezTo>
                      <a:close/>
                      <a:moveTo>
                        <a:pt x="169" y="164"/>
                      </a:moveTo>
                      <a:cubicBezTo>
                        <a:pt x="122" y="24"/>
                        <a:pt x="122" y="24"/>
                        <a:pt x="122" y="24"/>
                      </a:cubicBezTo>
                      <a:cubicBezTo>
                        <a:pt x="116" y="8"/>
                        <a:pt x="110" y="0"/>
                        <a:pt x="87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0" y="176"/>
                        <a:pt x="0" y="176"/>
                        <a:pt x="0" y="176"/>
                      </a:cubicBezTo>
                      <a:cubicBezTo>
                        <a:pt x="29" y="176"/>
                        <a:pt x="29" y="176"/>
                        <a:pt x="29" y="176"/>
                      </a:cubicBezTo>
                      <a:cubicBezTo>
                        <a:pt x="44" y="133"/>
                        <a:pt x="44" y="133"/>
                        <a:pt x="44" y="133"/>
                      </a:cubicBezTo>
                      <a:cubicBezTo>
                        <a:pt x="107" y="133"/>
                        <a:pt x="107" y="133"/>
                        <a:pt x="107" y="133"/>
                      </a:cubicBezTo>
                      <a:cubicBezTo>
                        <a:pt x="116" y="161"/>
                        <a:pt x="116" y="161"/>
                        <a:pt x="116" y="161"/>
                      </a:cubicBezTo>
                      <a:cubicBezTo>
                        <a:pt x="120" y="171"/>
                        <a:pt x="124" y="176"/>
                        <a:pt x="135" y="176"/>
                      </a:cubicBezTo>
                      <a:cubicBezTo>
                        <a:pt x="174" y="176"/>
                        <a:pt x="174" y="176"/>
                        <a:pt x="174" y="176"/>
                      </a:cubicBezTo>
                      <a:cubicBezTo>
                        <a:pt x="173" y="174"/>
                        <a:pt x="171" y="171"/>
                        <a:pt x="169" y="16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2" name="Freeform 28"/>
                <p:cNvSpPr>
                  <a:spLocks noEditPoints="1"/>
                </p:cNvSpPr>
                <p:nvPr/>
              </p:nvSpPr>
              <p:spPr bwMode="gray">
                <a:xfrm>
                  <a:off x="3181351" y="-1474788"/>
                  <a:ext cx="541338" cy="531813"/>
                </a:xfrm>
                <a:custGeom>
                  <a:avLst/>
                  <a:gdLst/>
                  <a:ahLst/>
                  <a:cxnLst>
                    <a:cxn ang="0">
                      <a:pos x="72" y="117"/>
                    </a:cxn>
                    <a:cxn ang="0">
                      <a:pos x="51" y="70"/>
                    </a:cxn>
                    <a:cxn ang="0">
                      <a:pos x="72" y="24"/>
                    </a:cxn>
                    <a:cxn ang="0">
                      <a:pos x="93" y="73"/>
                    </a:cxn>
                    <a:cxn ang="0">
                      <a:pos x="72" y="117"/>
                    </a:cxn>
                    <a:cxn ang="0">
                      <a:pos x="72" y="142"/>
                    </a:cxn>
                    <a:cxn ang="0">
                      <a:pos x="144" y="68"/>
                    </a:cxn>
                    <a:cxn ang="0">
                      <a:pos x="73" y="0"/>
                    </a:cxn>
                    <a:cxn ang="0">
                      <a:pos x="0" y="75"/>
                    </a:cxn>
                    <a:cxn ang="0">
                      <a:pos x="72" y="142"/>
                    </a:cxn>
                  </a:cxnLst>
                  <a:rect l="0" t="0" r="r" b="b"/>
                  <a:pathLst>
                    <a:path w="144" h="142">
                      <a:moveTo>
                        <a:pt x="72" y="117"/>
                      </a:moveTo>
                      <a:cubicBezTo>
                        <a:pt x="56" y="117"/>
                        <a:pt x="51" y="99"/>
                        <a:pt x="51" y="70"/>
                      </a:cubicBezTo>
                      <a:cubicBezTo>
                        <a:pt x="51" y="43"/>
                        <a:pt x="56" y="24"/>
                        <a:pt x="72" y="24"/>
                      </a:cubicBezTo>
                      <a:cubicBezTo>
                        <a:pt x="88" y="24"/>
                        <a:pt x="93" y="44"/>
                        <a:pt x="93" y="73"/>
                      </a:cubicBezTo>
                      <a:cubicBezTo>
                        <a:pt x="93" y="100"/>
                        <a:pt x="88" y="117"/>
                        <a:pt x="72" y="117"/>
                      </a:cubicBezTo>
                      <a:moveTo>
                        <a:pt x="72" y="142"/>
                      </a:moveTo>
                      <a:cubicBezTo>
                        <a:pt x="111" y="142"/>
                        <a:pt x="144" y="114"/>
                        <a:pt x="144" y="68"/>
                      </a:cubicBezTo>
                      <a:cubicBezTo>
                        <a:pt x="144" y="29"/>
                        <a:pt x="112" y="0"/>
                        <a:pt x="73" y="0"/>
                      </a:cubicBezTo>
                      <a:cubicBezTo>
                        <a:pt x="33" y="0"/>
                        <a:pt x="0" y="28"/>
                        <a:pt x="0" y="75"/>
                      </a:cubicBezTo>
                      <a:cubicBezTo>
                        <a:pt x="0" y="115"/>
                        <a:pt x="33" y="142"/>
                        <a:pt x="72" y="14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3" name="Freeform 29"/>
                <p:cNvSpPr>
                  <a:spLocks/>
                </p:cNvSpPr>
                <p:nvPr/>
              </p:nvSpPr>
              <p:spPr bwMode="gray">
                <a:xfrm>
                  <a:off x="3800476" y="-1617663"/>
                  <a:ext cx="577850" cy="663575"/>
                </a:xfrm>
                <a:custGeom>
                  <a:avLst/>
                  <a:gdLst/>
                  <a:ahLst/>
                  <a:cxnLst>
                    <a:cxn ang="0">
                      <a:pos x="0" y="177"/>
                    </a:cxn>
                    <a:cxn ang="0">
                      <a:pos x="30" y="177"/>
                    </a:cxn>
                    <a:cxn ang="0">
                      <a:pos x="30" y="65"/>
                    </a:cxn>
                    <a:cxn ang="0">
                      <a:pos x="104" y="154"/>
                    </a:cxn>
                    <a:cxn ang="0">
                      <a:pos x="133" y="177"/>
                    </a:cxn>
                    <a:cxn ang="0">
                      <a:pos x="154" y="177"/>
                    </a:cxn>
                    <a:cxn ang="0">
                      <a:pos x="154" y="16"/>
                    </a:cxn>
                    <a:cxn ang="0">
                      <a:pos x="138" y="0"/>
                    </a:cxn>
                    <a:cxn ang="0">
                      <a:pos x="125" y="0"/>
                    </a:cxn>
                    <a:cxn ang="0">
                      <a:pos x="125" y="107"/>
                    </a:cxn>
                    <a:cxn ang="0">
                      <a:pos x="54" y="21"/>
                    </a:cxn>
                    <a:cxn ang="0">
                      <a:pos x="22" y="0"/>
                    </a:cxn>
                    <a:cxn ang="0">
                      <a:pos x="0" y="0"/>
                    </a:cxn>
                    <a:cxn ang="0">
                      <a:pos x="0" y="177"/>
                    </a:cxn>
                  </a:cxnLst>
                  <a:rect l="0" t="0" r="r" b="b"/>
                  <a:pathLst>
                    <a:path w="154" h="177">
                      <a:moveTo>
                        <a:pt x="0" y="177"/>
                      </a:moveTo>
                      <a:cubicBezTo>
                        <a:pt x="30" y="177"/>
                        <a:pt x="30" y="177"/>
                        <a:pt x="30" y="177"/>
                      </a:cubicBezTo>
                      <a:cubicBezTo>
                        <a:pt x="30" y="65"/>
                        <a:pt x="30" y="65"/>
                        <a:pt x="30" y="65"/>
                      </a:cubicBezTo>
                      <a:cubicBezTo>
                        <a:pt x="104" y="154"/>
                        <a:pt x="104" y="154"/>
                        <a:pt x="104" y="154"/>
                      </a:cubicBezTo>
                      <a:cubicBezTo>
                        <a:pt x="115" y="167"/>
                        <a:pt x="122" y="177"/>
                        <a:pt x="133" y="177"/>
                      </a:cubicBezTo>
                      <a:cubicBezTo>
                        <a:pt x="154" y="177"/>
                        <a:pt x="154" y="177"/>
                        <a:pt x="154" y="177"/>
                      </a:cubicBezTo>
                      <a:cubicBezTo>
                        <a:pt x="154" y="16"/>
                        <a:pt x="154" y="16"/>
                        <a:pt x="154" y="16"/>
                      </a:cubicBezTo>
                      <a:cubicBezTo>
                        <a:pt x="154" y="6"/>
                        <a:pt x="148" y="0"/>
                        <a:pt x="138" y="0"/>
                      </a:cubicBezTo>
                      <a:cubicBezTo>
                        <a:pt x="125" y="0"/>
                        <a:pt x="125" y="0"/>
                        <a:pt x="125" y="0"/>
                      </a:cubicBezTo>
                      <a:cubicBezTo>
                        <a:pt x="125" y="107"/>
                        <a:pt x="125" y="107"/>
                        <a:pt x="125" y="107"/>
                      </a:cubicBezTo>
                      <a:cubicBezTo>
                        <a:pt x="54" y="21"/>
                        <a:pt x="54" y="21"/>
                        <a:pt x="54" y="21"/>
                      </a:cubicBezTo>
                      <a:cubicBezTo>
                        <a:pt x="43" y="8"/>
                        <a:pt x="37" y="0"/>
                        <a:pt x="2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77"/>
                        <a:pt x="0" y="177"/>
                        <a:pt x="0" y="17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4" name="Freeform 30"/>
                <p:cNvSpPr>
                  <a:spLocks noEditPoints="1"/>
                </p:cNvSpPr>
                <p:nvPr/>
              </p:nvSpPr>
              <p:spPr bwMode="gray">
                <a:xfrm>
                  <a:off x="4456113" y="-1474788"/>
                  <a:ext cx="536575" cy="531813"/>
                </a:xfrm>
                <a:custGeom>
                  <a:avLst/>
                  <a:gdLst/>
                  <a:ahLst/>
                  <a:cxnLst>
                    <a:cxn ang="0">
                      <a:pos x="72" y="117"/>
                    </a:cxn>
                    <a:cxn ang="0">
                      <a:pos x="50" y="70"/>
                    </a:cxn>
                    <a:cxn ang="0">
                      <a:pos x="72" y="24"/>
                    </a:cxn>
                    <a:cxn ang="0">
                      <a:pos x="93" y="73"/>
                    </a:cxn>
                    <a:cxn ang="0">
                      <a:pos x="72" y="117"/>
                    </a:cxn>
                    <a:cxn ang="0">
                      <a:pos x="71" y="142"/>
                    </a:cxn>
                    <a:cxn ang="0">
                      <a:pos x="143" y="68"/>
                    </a:cxn>
                    <a:cxn ang="0">
                      <a:pos x="72" y="0"/>
                    </a:cxn>
                    <a:cxn ang="0">
                      <a:pos x="0" y="75"/>
                    </a:cxn>
                    <a:cxn ang="0">
                      <a:pos x="71" y="142"/>
                    </a:cxn>
                  </a:cxnLst>
                  <a:rect l="0" t="0" r="r" b="b"/>
                  <a:pathLst>
                    <a:path w="143" h="142">
                      <a:moveTo>
                        <a:pt x="72" y="117"/>
                      </a:moveTo>
                      <a:cubicBezTo>
                        <a:pt x="56" y="117"/>
                        <a:pt x="50" y="99"/>
                        <a:pt x="50" y="70"/>
                      </a:cubicBezTo>
                      <a:cubicBezTo>
                        <a:pt x="50" y="43"/>
                        <a:pt x="56" y="24"/>
                        <a:pt x="72" y="24"/>
                      </a:cubicBezTo>
                      <a:cubicBezTo>
                        <a:pt x="88" y="24"/>
                        <a:pt x="93" y="44"/>
                        <a:pt x="93" y="73"/>
                      </a:cubicBezTo>
                      <a:cubicBezTo>
                        <a:pt x="93" y="100"/>
                        <a:pt x="88" y="117"/>
                        <a:pt x="72" y="117"/>
                      </a:cubicBezTo>
                      <a:moveTo>
                        <a:pt x="71" y="142"/>
                      </a:moveTo>
                      <a:cubicBezTo>
                        <a:pt x="110" y="142"/>
                        <a:pt x="143" y="114"/>
                        <a:pt x="143" y="68"/>
                      </a:cubicBezTo>
                      <a:cubicBezTo>
                        <a:pt x="143" y="29"/>
                        <a:pt x="112" y="0"/>
                        <a:pt x="72" y="0"/>
                      </a:cubicBezTo>
                      <a:cubicBezTo>
                        <a:pt x="32" y="0"/>
                        <a:pt x="0" y="28"/>
                        <a:pt x="0" y="75"/>
                      </a:cubicBezTo>
                      <a:cubicBezTo>
                        <a:pt x="0" y="115"/>
                        <a:pt x="32" y="142"/>
                        <a:pt x="71" y="14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5" name="Freeform 31"/>
                <p:cNvSpPr>
                  <a:spLocks noEditPoints="1"/>
                </p:cNvSpPr>
                <p:nvPr/>
              </p:nvSpPr>
              <p:spPr bwMode="gray">
                <a:xfrm>
                  <a:off x="5645151" y="-1474788"/>
                  <a:ext cx="506413" cy="531813"/>
                </a:xfrm>
                <a:custGeom>
                  <a:avLst/>
                  <a:gdLst/>
                  <a:ahLst/>
                  <a:cxnLst>
                    <a:cxn ang="0">
                      <a:pos x="47" y="55"/>
                    </a:cxn>
                    <a:cxn ang="0">
                      <a:pos x="69" y="22"/>
                    </a:cxn>
                    <a:cxn ang="0">
                      <a:pos x="91" y="55"/>
                    </a:cxn>
                    <a:cxn ang="0">
                      <a:pos x="47" y="55"/>
                    </a:cxn>
                    <a:cxn ang="0">
                      <a:pos x="134" y="74"/>
                    </a:cxn>
                    <a:cxn ang="0">
                      <a:pos x="135" y="58"/>
                    </a:cxn>
                    <a:cxn ang="0">
                      <a:pos x="70" y="0"/>
                    </a:cxn>
                    <a:cxn ang="0">
                      <a:pos x="0" y="71"/>
                    </a:cxn>
                    <a:cxn ang="0">
                      <a:pos x="68" y="142"/>
                    </a:cxn>
                    <a:cxn ang="0">
                      <a:pos x="127" y="99"/>
                    </a:cxn>
                    <a:cxn ang="0">
                      <a:pos x="88" y="109"/>
                    </a:cxn>
                    <a:cxn ang="0">
                      <a:pos x="47" y="74"/>
                    </a:cxn>
                    <a:cxn ang="0">
                      <a:pos x="134" y="74"/>
                    </a:cxn>
                  </a:cxnLst>
                  <a:rect l="0" t="0" r="r" b="b"/>
                  <a:pathLst>
                    <a:path w="135" h="142">
                      <a:moveTo>
                        <a:pt x="47" y="55"/>
                      </a:moveTo>
                      <a:cubicBezTo>
                        <a:pt x="48" y="35"/>
                        <a:pt x="56" y="22"/>
                        <a:pt x="69" y="22"/>
                      </a:cubicBezTo>
                      <a:cubicBezTo>
                        <a:pt x="88" y="22"/>
                        <a:pt x="91" y="55"/>
                        <a:pt x="91" y="55"/>
                      </a:cubicBezTo>
                      <a:cubicBezTo>
                        <a:pt x="47" y="55"/>
                        <a:pt x="47" y="55"/>
                        <a:pt x="47" y="55"/>
                      </a:cubicBezTo>
                      <a:close/>
                      <a:moveTo>
                        <a:pt x="134" y="74"/>
                      </a:moveTo>
                      <a:cubicBezTo>
                        <a:pt x="135" y="68"/>
                        <a:pt x="135" y="63"/>
                        <a:pt x="135" y="58"/>
                      </a:cubicBezTo>
                      <a:cubicBezTo>
                        <a:pt x="135" y="26"/>
                        <a:pt x="111" y="0"/>
                        <a:pt x="70" y="0"/>
                      </a:cubicBezTo>
                      <a:cubicBezTo>
                        <a:pt x="29" y="0"/>
                        <a:pt x="0" y="28"/>
                        <a:pt x="0" y="71"/>
                      </a:cubicBezTo>
                      <a:cubicBezTo>
                        <a:pt x="0" y="113"/>
                        <a:pt x="26" y="142"/>
                        <a:pt x="68" y="142"/>
                      </a:cubicBezTo>
                      <a:cubicBezTo>
                        <a:pt x="111" y="142"/>
                        <a:pt x="126" y="120"/>
                        <a:pt x="127" y="99"/>
                      </a:cubicBezTo>
                      <a:cubicBezTo>
                        <a:pt x="118" y="105"/>
                        <a:pt x="104" y="109"/>
                        <a:pt x="88" y="109"/>
                      </a:cubicBezTo>
                      <a:cubicBezTo>
                        <a:pt x="65" y="109"/>
                        <a:pt x="49" y="96"/>
                        <a:pt x="47" y="74"/>
                      </a:cubicBezTo>
                      <a:cubicBezTo>
                        <a:pt x="134" y="74"/>
                        <a:pt x="134" y="74"/>
                        <a:pt x="134" y="7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6" name="Freeform 32"/>
                <p:cNvSpPr>
                  <a:spLocks noEditPoints="1"/>
                </p:cNvSpPr>
                <p:nvPr/>
              </p:nvSpPr>
              <p:spPr bwMode="gray">
                <a:xfrm>
                  <a:off x="5072063" y="-1666875"/>
                  <a:ext cx="509588" cy="712788"/>
                </a:xfrm>
                <a:custGeom>
                  <a:avLst/>
                  <a:gdLst/>
                  <a:ahLst/>
                  <a:cxnLst>
                    <a:cxn ang="0">
                      <a:pos x="54" y="167"/>
                    </a:cxn>
                    <a:cxn ang="0">
                      <a:pos x="46" y="167"/>
                    </a:cxn>
                    <a:cxn ang="0">
                      <a:pos x="46" y="80"/>
                    </a:cxn>
                    <a:cxn ang="0">
                      <a:pos x="57" y="79"/>
                    </a:cxn>
                    <a:cxn ang="0">
                      <a:pos x="88" y="117"/>
                    </a:cxn>
                    <a:cxn ang="0">
                      <a:pos x="54" y="167"/>
                    </a:cxn>
                    <a:cxn ang="0">
                      <a:pos x="82" y="52"/>
                    </a:cxn>
                    <a:cxn ang="0">
                      <a:pos x="46" y="65"/>
                    </a:cxn>
                    <a:cxn ang="0">
                      <a:pos x="46" y="28"/>
                    </a:cxn>
                    <a:cxn ang="0">
                      <a:pos x="17" y="0"/>
                    </a:cxn>
                    <a:cxn ang="0">
                      <a:pos x="0" y="0"/>
                    </a:cxn>
                    <a:cxn ang="0">
                      <a:pos x="0" y="190"/>
                    </a:cxn>
                    <a:cxn ang="0">
                      <a:pos x="55" y="190"/>
                    </a:cxn>
                    <a:cxn ang="0">
                      <a:pos x="136" y="112"/>
                    </a:cxn>
                    <a:cxn ang="0">
                      <a:pos x="82" y="52"/>
                    </a:cxn>
                  </a:cxnLst>
                  <a:rect l="0" t="0" r="r" b="b"/>
                  <a:pathLst>
                    <a:path w="136" h="190">
                      <a:moveTo>
                        <a:pt x="54" y="167"/>
                      </a:moveTo>
                      <a:cubicBezTo>
                        <a:pt x="46" y="167"/>
                        <a:pt x="46" y="167"/>
                        <a:pt x="46" y="167"/>
                      </a:cubicBezTo>
                      <a:cubicBezTo>
                        <a:pt x="46" y="80"/>
                        <a:pt x="46" y="80"/>
                        <a:pt x="46" y="80"/>
                      </a:cubicBezTo>
                      <a:cubicBezTo>
                        <a:pt x="49" y="79"/>
                        <a:pt x="52" y="79"/>
                        <a:pt x="57" y="79"/>
                      </a:cubicBezTo>
                      <a:cubicBezTo>
                        <a:pt x="74" y="79"/>
                        <a:pt x="88" y="95"/>
                        <a:pt x="88" y="117"/>
                      </a:cubicBezTo>
                      <a:cubicBezTo>
                        <a:pt x="88" y="150"/>
                        <a:pt x="76" y="167"/>
                        <a:pt x="54" y="167"/>
                      </a:cubicBezTo>
                      <a:close/>
                      <a:moveTo>
                        <a:pt x="82" y="52"/>
                      </a:moveTo>
                      <a:cubicBezTo>
                        <a:pt x="66" y="52"/>
                        <a:pt x="53" y="58"/>
                        <a:pt x="46" y="65"/>
                      </a:cubicBezTo>
                      <a:cubicBezTo>
                        <a:pt x="46" y="28"/>
                        <a:pt x="46" y="28"/>
                        <a:pt x="46" y="28"/>
                      </a:cubicBezTo>
                      <a:cubicBezTo>
                        <a:pt x="46" y="11"/>
                        <a:pt x="34" y="0"/>
                        <a:pt x="1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90"/>
                        <a:pt x="0" y="190"/>
                        <a:pt x="0" y="190"/>
                      </a:cubicBezTo>
                      <a:cubicBezTo>
                        <a:pt x="55" y="190"/>
                        <a:pt x="55" y="190"/>
                        <a:pt x="55" y="190"/>
                      </a:cubicBezTo>
                      <a:cubicBezTo>
                        <a:pt x="107" y="190"/>
                        <a:pt x="136" y="163"/>
                        <a:pt x="136" y="112"/>
                      </a:cubicBezTo>
                      <a:cubicBezTo>
                        <a:pt x="136" y="78"/>
                        <a:pt x="113" y="52"/>
                        <a:pt x="82" y="5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7" name="Freeform 33"/>
                <p:cNvSpPr>
                  <a:spLocks/>
                </p:cNvSpPr>
                <p:nvPr/>
              </p:nvSpPr>
              <p:spPr bwMode="gray">
                <a:xfrm>
                  <a:off x="6223001" y="-1666875"/>
                  <a:ext cx="176213" cy="712788"/>
                </a:xfrm>
                <a:custGeom>
                  <a:avLst/>
                  <a:gdLst/>
                  <a:ahLst/>
                  <a:cxnLst>
                    <a:cxn ang="0">
                      <a:pos x="0" y="190"/>
                    </a:cxn>
                    <a:cxn ang="0">
                      <a:pos x="47" y="190"/>
                    </a:cxn>
                    <a:cxn ang="0">
                      <a:pos x="47" y="28"/>
                    </a:cxn>
                    <a:cxn ang="0">
                      <a:pos x="18" y="0"/>
                    </a:cxn>
                    <a:cxn ang="0">
                      <a:pos x="0" y="0"/>
                    </a:cxn>
                    <a:cxn ang="0">
                      <a:pos x="0" y="190"/>
                    </a:cxn>
                  </a:cxnLst>
                  <a:rect l="0" t="0" r="r" b="b"/>
                  <a:pathLst>
                    <a:path w="47" h="190">
                      <a:moveTo>
                        <a:pt x="0" y="190"/>
                      </a:moveTo>
                      <a:cubicBezTo>
                        <a:pt x="47" y="190"/>
                        <a:pt x="47" y="190"/>
                        <a:pt x="47" y="190"/>
                      </a:cubicBezTo>
                      <a:cubicBezTo>
                        <a:pt x="47" y="28"/>
                        <a:pt x="47" y="28"/>
                        <a:pt x="47" y="28"/>
                      </a:cubicBezTo>
                      <a:cubicBezTo>
                        <a:pt x="47" y="11"/>
                        <a:pt x="35" y="0"/>
                        <a:pt x="1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90"/>
                        <a:pt x="0" y="190"/>
                        <a:pt x="0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</p:grpSp>
        </p:grpSp>
        <p:sp>
          <p:nvSpPr>
            <p:cNvPr id="24" name="Rectangle 23"/>
            <p:cNvSpPr/>
            <p:nvPr/>
          </p:nvSpPr>
          <p:spPr bwMode="gray">
            <a:xfrm>
              <a:off x="2087597" y="1778925"/>
              <a:ext cx="7056403" cy="12717"/>
            </a:xfrm>
            <a:prstGeom prst="rect">
              <a:avLst/>
            </a:prstGeom>
            <a:solidFill>
              <a:srgbClr val="005095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21595072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&amp; statistics">
    <p:bg bwMode="gray">
      <p:bgPr>
        <a:solidFill>
          <a:srgbClr val="B9C9D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entagon 28"/>
          <p:cNvSpPr/>
          <p:nvPr/>
        </p:nvSpPr>
        <p:spPr bwMode="gray">
          <a:xfrm>
            <a:off x="-1" y="6243917"/>
            <a:ext cx="804523" cy="614083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5" name="Rechthoek 1"/>
          <p:cNvSpPr/>
          <p:nvPr/>
        </p:nvSpPr>
        <p:spPr bwMode="gray">
          <a:xfrm>
            <a:off x="4651575" y="1295400"/>
            <a:ext cx="4140000" cy="2256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nl-NL" sz="2400" dirty="0" err="1">
              <a:solidFill>
                <a:srgbClr val="FFFFFF"/>
              </a:solidFill>
            </a:endParaRPr>
          </a:p>
        </p:txBody>
      </p:sp>
      <p:sp>
        <p:nvSpPr>
          <p:cNvPr id="36" name="Rechthoek 1"/>
          <p:cNvSpPr/>
          <p:nvPr/>
        </p:nvSpPr>
        <p:spPr bwMode="gray">
          <a:xfrm>
            <a:off x="352425" y="1295401"/>
            <a:ext cx="4140000" cy="471804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nl-NL" sz="2400" dirty="0" err="1">
              <a:solidFill>
                <a:srgbClr val="FFFFFF"/>
              </a:solidFill>
            </a:endParaRPr>
          </a:p>
        </p:txBody>
      </p:sp>
      <p:sp>
        <p:nvSpPr>
          <p:cNvPr id="34" name="Rechthoek 1"/>
          <p:cNvSpPr/>
          <p:nvPr/>
        </p:nvSpPr>
        <p:spPr bwMode="gray">
          <a:xfrm>
            <a:off x="4651575" y="3757451"/>
            <a:ext cx="4140000" cy="2256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nl-NL" sz="2400" dirty="0" err="1">
              <a:solidFill>
                <a:srgbClr val="FFFFFF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495008" y="1479385"/>
            <a:ext cx="3854836" cy="4327564"/>
          </a:xfrm>
        </p:spPr>
        <p:txBody>
          <a:bodyPr/>
          <a:lstStyle>
            <a:lvl1pPr>
              <a:defRPr sz="14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4794158" y="1791188"/>
            <a:ext cx="3854836" cy="1567760"/>
          </a:xfrm>
        </p:spPr>
        <p:txBody>
          <a:bodyPr/>
          <a:lstStyle>
            <a:lvl1pPr>
              <a:defRPr sz="14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16"/>
          <p:cNvSpPr>
            <a:spLocks noGrp="1"/>
          </p:cNvSpPr>
          <p:nvPr>
            <p:ph sz="quarter" idx="23"/>
          </p:nvPr>
        </p:nvSpPr>
        <p:spPr bwMode="gray">
          <a:xfrm>
            <a:off x="4794158" y="4257473"/>
            <a:ext cx="3854836" cy="1567761"/>
          </a:xfrm>
        </p:spPr>
        <p:txBody>
          <a:bodyPr/>
          <a:lstStyle>
            <a:lvl1pPr>
              <a:defRPr sz="14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30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5317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10" name="Title Heading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794158" y="1479385"/>
            <a:ext cx="3854835" cy="26263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 b="1"/>
            </a:lvl1pPr>
          </a:lstStyle>
          <a:p>
            <a:pPr lvl="0"/>
            <a:r>
              <a:rPr lang="en-US"/>
              <a:t>Edit heading</a:t>
            </a:r>
            <a:endParaRPr lang="en-GB"/>
          </a:p>
        </p:txBody>
      </p:sp>
      <p:sp>
        <p:nvSpPr>
          <p:cNvPr id="40" name="Title Heading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794158" y="3945669"/>
            <a:ext cx="3854835" cy="26263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 b="1"/>
            </a:lvl1pPr>
          </a:lstStyle>
          <a:p>
            <a:pPr lvl="0"/>
            <a:r>
              <a:rPr lang="en-US"/>
              <a:t>Edit heading</a:t>
            </a:r>
            <a:endParaRPr lang="en-GB"/>
          </a:p>
        </p:txBody>
      </p:sp>
      <p:grpSp>
        <p:nvGrpSpPr>
          <p:cNvPr id="47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48" name="Freeform 47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3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4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2" name="Group 41"/>
          <p:cNvGrpSpPr/>
          <p:nvPr/>
        </p:nvGrpSpPr>
        <p:grpSpPr bwMode="gray">
          <a:xfrm>
            <a:off x="-1591365" y="338781"/>
            <a:ext cx="1531557" cy="840729"/>
            <a:chOff x="-720001" y="254084"/>
            <a:chExt cx="1080000" cy="630547"/>
          </a:xfrm>
        </p:grpSpPr>
        <p:cxnSp>
          <p:nvCxnSpPr>
            <p:cNvPr id="43" name="Straight Connector 42"/>
            <p:cNvCxnSpPr/>
            <p:nvPr/>
          </p:nvCxnSpPr>
          <p:spPr bwMode="gray">
            <a:xfrm>
              <a:off x="-720001" y="884631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 bwMode="gray">
            <a:xfrm>
              <a:off x="-720001" y="254084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Rectangle 45"/>
          <p:cNvSpPr/>
          <p:nvPr/>
        </p:nvSpPr>
        <p:spPr bwMode="gray">
          <a:xfrm>
            <a:off x="-1499807" y="338779"/>
            <a:ext cx="1313433" cy="840728"/>
          </a:xfrm>
          <a:prstGeom prst="rect">
            <a:avLst/>
          </a:prstGeom>
          <a:solidFill>
            <a:schemeClr val="bg2">
              <a:lumMod val="60000"/>
              <a:lumOff val="4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b" anchorCtr="0">
            <a:noAutofit/>
          </a:bodyPr>
          <a:lstStyle/>
          <a:p>
            <a:pPr algn="l"/>
            <a:r>
              <a:rPr lang="en-US" sz="1000" b="0">
                <a:solidFill>
                  <a:schemeClr val="tx1"/>
                </a:solidFill>
              </a:rPr>
              <a:t>Title area</a:t>
            </a:r>
          </a:p>
          <a:p>
            <a:pPr algn="l"/>
            <a:r>
              <a:rPr lang="en-US" sz="1000" b="0">
                <a:solidFill>
                  <a:schemeClr val="tx1"/>
                </a:solidFill>
              </a:rPr>
              <a:t>max over 2 lines</a:t>
            </a:r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 bwMode="gray">
          <a:xfrm>
            <a:off x="-1560948" y="5971352"/>
            <a:ext cx="1501140" cy="77210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" bIns="108000" rtlCol="0" anchor="t" anchorCtr="0">
            <a:sp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Insert Topic Icons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Click on the picture icon and </a:t>
            </a:r>
            <a:r>
              <a:rPr lang="en-US" sz="900" b="0" i="0" baseline="0">
                <a:solidFill>
                  <a:schemeClr val="tx1"/>
                </a:solidFill>
              </a:rPr>
              <a:t>browse to the location of </a:t>
            </a:r>
            <a:r>
              <a:rPr lang="en-US" sz="900" b="0" baseline="0">
                <a:solidFill>
                  <a:schemeClr val="tx1"/>
                </a:solidFill>
              </a:rPr>
              <a:t>the Topic Icons</a:t>
            </a:r>
            <a:endParaRPr lang="en-US" sz="900" b="0" dirty="0">
              <a:solidFill>
                <a:schemeClr val="tx1"/>
              </a:solidFill>
            </a:endParaRPr>
          </a:p>
        </p:txBody>
      </p:sp>
      <p:sp>
        <p:nvSpPr>
          <p:cNvPr id="63" name="Rectangle 62"/>
          <p:cNvSpPr/>
          <p:nvPr/>
        </p:nvSpPr>
        <p:spPr bwMode="gray">
          <a:xfrm>
            <a:off x="9288780" y="182684"/>
            <a:ext cx="1501140" cy="118760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 dirty="0">
                <a:solidFill>
                  <a:schemeClr val="tx1"/>
                </a:solidFill>
              </a:rPr>
              <a:t>Insert image via</a:t>
            </a:r>
          </a:p>
          <a:p>
            <a:pPr algn="l"/>
            <a:r>
              <a:rPr lang="en-US" sz="900" b="0" dirty="0">
                <a:solidFill>
                  <a:schemeClr val="tx1"/>
                </a:solidFill>
              </a:rPr>
              <a:t>Format Background &gt; Picture</a:t>
            </a:r>
            <a:r>
              <a:rPr lang="en-US" sz="900" b="0" baseline="0" dirty="0">
                <a:solidFill>
                  <a:schemeClr val="tx1"/>
                </a:solidFill>
              </a:rPr>
              <a:t> or texture fill &gt;</a:t>
            </a:r>
          </a:p>
          <a:p>
            <a:pPr algn="l"/>
            <a:r>
              <a:rPr lang="en-US" sz="900" b="0" i="0" baseline="0" dirty="0">
                <a:solidFill>
                  <a:schemeClr val="tx1"/>
                </a:solidFill>
              </a:rPr>
              <a:t>Click “File” to browse to </a:t>
            </a:r>
            <a:r>
              <a:rPr lang="en-US" sz="900" b="0" baseline="0" dirty="0">
                <a:solidFill>
                  <a:schemeClr val="tx1"/>
                </a:solidFill>
              </a:rPr>
              <a:t>your image</a:t>
            </a:r>
          </a:p>
          <a:p>
            <a:pPr algn="l"/>
            <a:r>
              <a:rPr lang="en-US" sz="900" b="0" baseline="0" dirty="0">
                <a:solidFill>
                  <a:schemeClr val="tx1"/>
                </a:solidFill>
              </a:rPr>
              <a:t>Make sure </a:t>
            </a:r>
            <a:r>
              <a:rPr lang="en-US" sz="900" b="0" i="1" baseline="0" dirty="0">
                <a:solidFill>
                  <a:schemeClr val="tx1"/>
                </a:solidFill>
              </a:rPr>
              <a:t>“Tile picture as texture”</a:t>
            </a:r>
            <a:r>
              <a:rPr lang="en-US" sz="900" b="0" baseline="0" dirty="0">
                <a:solidFill>
                  <a:schemeClr val="tx1"/>
                </a:solidFill>
              </a:rPr>
              <a:t> is ticked</a:t>
            </a:r>
            <a:endParaRPr lang="en-US" sz="9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838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9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AkzoNobel logo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34" name="Freeform 33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Picture Placeholder 56"/>
          <p:cNvSpPr>
            <a:spLocks noGrp="1"/>
          </p:cNvSpPr>
          <p:nvPr>
            <p:ph type="pic" sz="quarter" idx="17"/>
          </p:nvPr>
        </p:nvSpPr>
        <p:spPr bwMode="gray">
          <a:xfrm>
            <a:off x="2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3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09 w 9143999"/>
              <a:gd name="connsiteY55" fmla="*/ 341985 h 6859200"/>
              <a:gd name="connsiteX56" fmla="*/ 6427457 w 9143999"/>
              <a:gd name="connsiteY56" fmla="*/ 657368 h 6859200"/>
              <a:gd name="connsiteX57" fmla="*/ 6477213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29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49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09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3" y="547300"/>
                  <a:pt x="6601023" y="547300"/>
                  <a:pt x="6601023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09" y="341985"/>
                </a:moveTo>
                <a:cubicBezTo>
                  <a:pt x="6427457" y="657368"/>
                  <a:pt x="6427457" y="657368"/>
                  <a:pt x="6427457" y="657368"/>
                </a:cubicBezTo>
                <a:cubicBezTo>
                  <a:pt x="6477213" y="657368"/>
                  <a:pt x="6477213" y="657368"/>
                  <a:pt x="6477213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29" y="628696"/>
                  <a:pt x="6630629" y="628696"/>
                  <a:pt x="6630629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49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29" y="358368"/>
                  <a:pt x="6618190" y="341985"/>
                  <a:pt x="6580873" y="341985"/>
                </a:cubicBezTo>
                <a:cubicBezTo>
                  <a:pt x="6539409" y="341985"/>
                  <a:pt x="6539409" y="341985"/>
                  <a:pt x="6539409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45" name="Group 44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53" name="Rectangle 52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58" name="Picture 57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61" name="Rectangle 60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62" name="Rectangle 61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63" name="Straight Arrow Connector 62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>
              <a:stCxn id="55" idx="0"/>
              <a:endCxn id="55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>
              <a:stCxn id="55" idx="3"/>
              <a:endCxn id="55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Arrow Connector 65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Oval 66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650178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AkzoNobel logo blue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32" name="Freeform 31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3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58" name="Picture Placeholder 57"/>
          <p:cNvSpPr>
            <a:spLocks noGrp="1"/>
          </p:cNvSpPr>
          <p:nvPr>
            <p:ph type="pic" sz="quarter" idx="18"/>
          </p:nvPr>
        </p:nvSpPr>
        <p:spPr bwMode="gray">
          <a:xfrm>
            <a:off x="2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3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09 w 9143999"/>
              <a:gd name="connsiteY55" fmla="*/ 341985 h 6859200"/>
              <a:gd name="connsiteX56" fmla="*/ 6427457 w 9143999"/>
              <a:gd name="connsiteY56" fmla="*/ 657368 h 6859200"/>
              <a:gd name="connsiteX57" fmla="*/ 6477213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29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49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09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3" y="547300"/>
                  <a:pt x="6601023" y="547300"/>
                  <a:pt x="6601023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09" y="341985"/>
                </a:moveTo>
                <a:cubicBezTo>
                  <a:pt x="6427457" y="657368"/>
                  <a:pt x="6427457" y="657368"/>
                  <a:pt x="6427457" y="657368"/>
                </a:cubicBezTo>
                <a:cubicBezTo>
                  <a:pt x="6477213" y="657368"/>
                  <a:pt x="6477213" y="657368"/>
                  <a:pt x="6477213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29" y="628696"/>
                  <a:pt x="6630629" y="628696"/>
                  <a:pt x="6630629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49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29" y="358368"/>
                  <a:pt x="6618190" y="341985"/>
                  <a:pt x="6580873" y="341985"/>
                </a:cubicBezTo>
                <a:cubicBezTo>
                  <a:pt x="6539409" y="341985"/>
                  <a:pt x="6539409" y="341985"/>
                  <a:pt x="6539409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Group 45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54" name="Rectangle 53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55" name="Rectangle 54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59" name="Picture 58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62" name="Rectangle 61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63" name="Rectangle 62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64" name="Straight Arrow Connector 63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>
              <a:stCxn id="56" idx="0"/>
              <a:endCxn id="56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>
              <a:stCxn id="56" idx="3"/>
              <a:endCxn id="56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Oval 67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8939467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with Header and circles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53" name="Freeform 52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70" name="Picture Placeholder 69"/>
          <p:cNvSpPr>
            <a:spLocks noGrp="1"/>
          </p:cNvSpPr>
          <p:nvPr>
            <p:ph type="pic" sz="quarter" idx="17"/>
          </p:nvPr>
        </p:nvSpPr>
        <p:spPr bwMode="gray">
          <a:xfrm>
            <a:off x="2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4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10 w 9143999"/>
              <a:gd name="connsiteY55" fmla="*/ 341985 h 6859200"/>
              <a:gd name="connsiteX56" fmla="*/ 6427458 w 9143999"/>
              <a:gd name="connsiteY56" fmla="*/ 657368 h 6859200"/>
              <a:gd name="connsiteX57" fmla="*/ 6477213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30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50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10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4" y="547300"/>
                  <a:pt x="6601024" y="547300"/>
                  <a:pt x="6601024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10" y="341985"/>
                </a:moveTo>
                <a:cubicBezTo>
                  <a:pt x="6427458" y="657368"/>
                  <a:pt x="6427458" y="657368"/>
                  <a:pt x="6427458" y="657368"/>
                </a:cubicBezTo>
                <a:cubicBezTo>
                  <a:pt x="6477213" y="657368"/>
                  <a:pt x="6477213" y="657368"/>
                  <a:pt x="6477213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30" y="628696"/>
                  <a:pt x="6630630" y="628696"/>
                  <a:pt x="6630630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50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30" y="358368"/>
                  <a:pt x="6618190" y="341985"/>
                  <a:pt x="6580873" y="341985"/>
                </a:cubicBezTo>
                <a:cubicBezTo>
                  <a:pt x="6539410" y="341985"/>
                  <a:pt x="6539410" y="341985"/>
                  <a:pt x="6539410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360000" y="334800"/>
            <a:ext cx="5686337" cy="600710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  <p:sp>
        <p:nvSpPr>
          <p:cNvPr id="73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5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74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83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7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72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7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960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77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779250" y="441742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78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3067750" y="441742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79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356250" y="441742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80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7644750" y="441742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grpSp>
        <p:nvGrpSpPr>
          <p:cNvPr id="51" name="Group 50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58" name="Rectangle 57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66" name="Rectangle 65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69" name="Picture 68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71" name="Picture 7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72" name="Picture 71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81" name="Rectangle 80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82" name="Rectangle 81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83" name="Straight Arrow Connector 82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>
              <a:stCxn id="67" idx="0"/>
              <a:endCxn id="67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>
              <a:stCxn id="67" idx="3"/>
              <a:endCxn id="67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Arrow Connector 85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Oval 86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215466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/>
      <p:bldP spid="78" grpId="0"/>
      <p:bldP spid="79" grpId="0"/>
      <p:bldP spid="80" grpId="0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with Header and circles 2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62" name="Freeform 61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6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2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78" name="Picture Placeholder 77"/>
          <p:cNvSpPr>
            <a:spLocks noGrp="1"/>
          </p:cNvSpPr>
          <p:nvPr>
            <p:ph type="pic" sz="quarter" idx="17"/>
          </p:nvPr>
        </p:nvSpPr>
        <p:spPr bwMode="gray">
          <a:xfrm>
            <a:off x="2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3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09 w 9143999"/>
              <a:gd name="connsiteY55" fmla="*/ 341985 h 6859200"/>
              <a:gd name="connsiteX56" fmla="*/ 6427457 w 9143999"/>
              <a:gd name="connsiteY56" fmla="*/ 657368 h 6859200"/>
              <a:gd name="connsiteX57" fmla="*/ 6477213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29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49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09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3" y="547300"/>
                  <a:pt x="6601023" y="547300"/>
                  <a:pt x="6601023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09" y="341985"/>
                </a:moveTo>
                <a:cubicBezTo>
                  <a:pt x="6427457" y="657368"/>
                  <a:pt x="6427457" y="657368"/>
                  <a:pt x="6427457" y="657368"/>
                </a:cubicBezTo>
                <a:cubicBezTo>
                  <a:pt x="6477213" y="657368"/>
                  <a:pt x="6477213" y="657368"/>
                  <a:pt x="6477213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29" y="628696"/>
                  <a:pt x="6630629" y="628696"/>
                  <a:pt x="6630629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49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29" y="358368"/>
                  <a:pt x="6618190" y="341985"/>
                  <a:pt x="6580873" y="341985"/>
                </a:cubicBezTo>
                <a:cubicBezTo>
                  <a:pt x="6539409" y="341985"/>
                  <a:pt x="6539409" y="341985"/>
                  <a:pt x="6539409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334800"/>
            <a:ext cx="5688000" cy="600710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/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  <p:sp>
        <p:nvSpPr>
          <p:cNvPr id="43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5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44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83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72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960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7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7792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30677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3562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0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76447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grpSp>
        <p:nvGrpSpPr>
          <p:cNvPr id="45" name="Group 44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46" name="Rectangle 45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53" name="Rectangle 52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67" name="Rectangle 66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74" name="Straight Arrow Connector 73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>
              <a:stCxn id="48" idx="0"/>
              <a:endCxn id="48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>
              <a:stCxn id="48" idx="3"/>
              <a:endCxn id="48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Arrow Connector 76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Oval 78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694603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/>
      <p:bldP spid="58" grpId="0"/>
      <p:bldP spid="59" grpId="0"/>
      <p:bldP spid="60" grpId="0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with Header and circles 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62" name="Freeform 61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6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2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78" name="Picture Placeholder 77"/>
          <p:cNvSpPr>
            <a:spLocks noGrp="1"/>
          </p:cNvSpPr>
          <p:nvPr>
            <p:ph type="pic" sz="quarter" idx="17"/>
          </p:nvPr>
        </p:nvSpPr>
        <p:spPr bwMode="gray">
          <a:xfrm>
            <a:off x="3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3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09 w 9143999"/>
              <a:gd name="connsiteY55" fmla="*/ 341985 h 6859200"/>
              <a:gd name="connsiteX56" fmla="*/ 6427457 w 9143999"/>
              <a:gd name="connsiteY56" fmla="*/ 657368 h 6859200"/>
              <a:gd name="connsiteX57" fmla="*/ 6477213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29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49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09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3" y="547300"/>
                  <a:pt x="6601023" y="547300"/>
                  <a:pt x="6601023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09" y="341985"/>
                </a:moveTo>
                <a:cubicBezTo>
                  <a:pt x="6427457" y="657368"/>
                  <a:pt x="6427457" y="657368"/>
                  <a:pt x="6427457" y="657368"/>
                </a:cubicBezTo>
                <a:cubicBezTo>
                  <a:pt x="6477213" y="657368"/>
                  <a:pt x="6477213" y="657368"/>
                  <a:pt x="6477213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29" y="628696"/>
                  <a:pt x="6630629" y="628696"/>
                  <a:pt x="6630629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49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29" y="358368"/>
                  <a:pt x="6618190" y="341985"/>
                  <a:pt x="6580873" y="341985"/>
                </a:cubicBezTo>
                <a:cubicBezTo>
                  <a:pt x="6539409" y="341985"/>
                  <a:pt x="6539409" y="341985"/>
                  <a:pt x="6539409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 bwMode="gray">
          <a:xfrm>
            <a:off x="360000" y="334800"/>
            <a:ext cx="4122000" cy="946958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52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5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3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83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72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960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7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7792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30677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3562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0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76447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grpSp>
        <p:nvGrpSpPr>
          <p:cNvPr id="51" name="Group 50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67" name="Rectangle 66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74" name="Rectangle 73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75" name="Picture 7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77" name="Picture 76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81" name="Rectangle 80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82" name="Rectangle 81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83" name="Straight Arrow Connector 82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>
              <a:stCxn id="75" idx="0"/>
              <a:endCxn id="75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>
              <a:stCxn id="75" idx="3"/>
              <a:endCxn id="75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Arrow Connector 85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Oval 86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1003244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/>
      <p:bldP spid="58" grpId="0"/>
      <p:bldP spid="59" grpId="0"/>
      <p:bldP spid="60" grpId="0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with Header and circles 4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63" name="Freeform 62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6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7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2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78" name="Picture Placeholder 77"/>
          <p:cNvSpPr>
            <a:spLocks noGrp="1"/>
          </p:cNvSpPr>
          <p:nvPr>
            <p:ph type="pic" sz="quarter" idx="17"/>
          </p:nvPr>
        </p:nvSpPr>
        <p:spPr bwMode="gray">
          <a:xfrm>
            <a:off x="3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3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09 w 9143999"/>
              <a:gd name="connsiteY55" fmla="*/ 341985 h 6859200"/>
              <a:gd name="connsiteX56" fmla="*/ 6427457 w 9143999"/>
              <a:gd name="connsiteY56" fmla="*/ 657368 h 6859200"/>
              <a:gd name="connsiteX57" fmla="*/ 6477214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29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49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09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3" y="547300"/>
                  <a:pt x="6601023" y="547300"/>
                  <a:pt x="6601023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09" y="341985"/>
                </a:moveTo>
                <a:cubicBezTo>
                  <a:pt x="6427457" y="657368"/>
                  <a:pt x="6427457" y="657368"/>
                  <a:pt x="6427457" y="657368"/>
                </a:cubicBezTo>
                <a:cubicBezTo>
                  <a:pt x="6477214" y="657368"/>
                  <a:pt x="6477214" y="657368"/>
                  <a:pt x="6477214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29" y="628696"/>
                  <a:pt x="6630629" y="628696"/>
                  <a:pt x="6630629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49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29" y="358368"/>
                  <a:pt x="6618190" y="341985"/>
                  <a:pt x="6580873" y="341985"/>
                </a:cubicBezTo>
                <a:cubicBezTo>
                  <a:pt x="6539409" y="341985"/>
                  <a:pt x="6539409" y="341985"/>
                  <a:pt x="6539409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60000" y="334800"/>
            <a:ext cx="4122000" cy="946958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3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5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44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83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72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960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779250" y="440403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3067750" y="440403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0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356250" y="440403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1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7644750" y="440403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grpSp>
        <p:nvGrpSpPr>
          <p:cNvPr id="46" name="Group 45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47" name="Rectangle 46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57" name="Rectangle 56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74" name="Rectangle 73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75" name="Straight Arrow Connector 74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>
              <a:stCxn id="49" idx="0"/>
              <a:endCxn id="49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>
              <a:stCxn id="49" idx="3"/>
              <a:endCxn id="49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Oval 79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605024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/>
      <p:bldP spid="59" grpId="0"/>
      <p:bldP spid="60" grpId="0"/>
      <p:bldP spid="61" grpId="0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Pentagon 28"/>
          <p:cNvSpPr/>
          <p:nvPr/>
        </p:nvSpPr>
        <p:spPr>
          <a:xfrm>
            <a:off x="-1" y="6244918"/>
            <a:ext cx="602409" cy="613083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0" bIns="0" rtlCol="0" anchor="ctr" anchorCtr="0"/>
          <a:lstStyle/>
          <a:p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" name="Group 62"/>
          <p:cNvGrpSpPr/>
          <p:nvPr/>
        </p:nvGrpSpPr>
        <p:grpSpPr bwMode="gray">
          <a:xfrm>
            <a:off x="826809" y="1296099"/>
            <a:ext cx="7964767" cy="4084544"/>
            <a:chOff x="813530" y="1454889"/>
            <a:chExt cx="7970470" cy="2993966"/>
          </a:xfrm>
        </p:grpSpPr>
        <p:sp>
          <p:nvSpPr>
            <p:cNvPr id="16" name="Rectangle 499"/>
            <p:cNvSpPr>
              <a:spLocks noChangeArrowheads="1"/>
            </p:cNvSpPr>
            <p:nvPr/>
          </p:nvSpPr>
          <p:spPr bwMode="gray">
            <a:xfrm>
              <a:off x="813530" y="1454889"/>
              <a:ext cx="7970470" cy="299269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/>
            </a:p>
          </p:txBody>
        </p:sp>
        <p:cxnSp>
          <p:nvCxnSpPr>
            <p:cNvPr id="17" name="Straight Connector 16"/>
            <p:cNvCxnSpPr/>
            <p:nvPr/>
          </p:nvCxnSpPr>
          <p:spPr bwMode="gray">
            <a:xfrm>
              <a:off x="4798765" y="1456156"/>
              <a:ext cx="0" cy="2992699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 bwMode="gray">
            <a:xfrm>
              <a:off x="813600" y="2952505"/>
              <a:ext cx="7970400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/>
          <p:cNvGrpSpPr/>
          <p:nvPr/>
        </p:nvGrpSpPr>
        <p:grpSpPr bwMode="gray">
          <a:xfrm>
            <a:off x="480060" y="1296634"/>
            <a:ext cx="8335003" cy="4416888"/>
            <a:chOff x="452334" y="1227538"/>
            <a:chExt cx="8355212" cy="3312666"/>
          </a:xfrm>
        </p:grpSpPr>
        <p:cxnSp>
          <p:nvCxnSpPr>
            <p:cNvPr id="8" name="Straight Arrow Connector 7"/>
            <p:cNvCxnSpPr/>
            <p:nvPr/>
          </p:nvCxnSpPr>
          <p:spPr bwMode="gray">
            <a:xfrm>
              <a:off x="452334" y="4540204"/>
              <a:ext cx="8321728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/>
            <p:cNvCxnSpPr/>
            <p:nvPr/>
          </p:nvCxnSpPr>
          <p:spPr bwMode="gray">
            <a:xfrm flipV="1">
              <a:off x="452334" y="1228204"/>
              <a:ext cx="0" cy="331200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/>
            <p:cNvSpPr/>
            <p:nvPr/>
          </p:nvSpPr>
          <p:spPr bwMode="gray">
            <a:xfrm>
              <a:off x="493132" y="1227538"/>
              <a:ext cx="279600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/>
                <a:t>++</a:t>
              </a:r>
              <a:endParaRPr lang="en-US" sz="1867" dirty="0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8527946" y="4315976"/>
              <a:ext cx="279600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/>
                <a:t>++</a:t>
              </a:r>
              <a:endParaRPr lang="en-US" sz="1867" dirty="0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552586" y="4315976"/>
              <a:ext cx="160689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/>
                <a:t>--</a:t>
              </a:r>
              <a:endParaRPr lang="en-US" sz="1867" dirty="0"/>
            </a:p>
          </p:txBody>
        </p:sp>
      </p:grpSp>
      <p:sp>
        <p:nvSpPr>
          <p:cNvPr id="28" name="Text Placeholder 2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55274" y="2156158"/>
            <a:ext cx="318924" cy="2364429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90626" y="5593184"/>
            <a:ext cx="2437133" cy="246221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44" name="Text Placeholder 30"/>
          <p:cNvSpPr>
            <a:spLocks noGrp="1"/>
          </p:cNvSpPr>
          <p:nvPr>
            <p:ph type="body" sz="quarter" idx="14"/>
          </p:nvPr>
        </p:nvSpPr>
        <p:spPr bwMode="gray">
          <a:xfrm>
            <a:off x="820527" y="1296627"/>
            <a:ext cx="3978000" cy="2041408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800"/>
            </a:lvl1pPr>
            <a:lvl2pPr marL="239178" indent="-239178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3pPr>
            <a:lvl4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5" name="Text Placeholder 30"/>
          <p:cNvSpPr>
            <a:spLocks noGrp="1"/>
          </p:cNvSpPr>
          <p:nvPr>
            <p:ph type="body" sz="quarter" idx="19"/>
          </p:nvPr>
        </p:nvSpPr>
        <p:spPr bwMode="gray">
          <a:xfrm>
            <a:off x="4808168" y="1296627"/>
            <a:ext cx="3978000" cy="2041408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800"/>
            </a:lvl1pPr>
            <a:lvl2pPr marL="239178" indent="-239178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3pPr>
            <a:lvl4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6" name="Text Placeholder 30"/>
          <p:cNvSpPr>
            <a:spLocks noGrp="1"/>
          </p:cNvSpPr>
          <p:nvPr>
            <p:ph type="body" sz="quarter" idx="20"/>
          </p:nvPr>
        </p:nvSpPr>
        <p:spPr bwMode="gray">
          <a:xfrm>
            <a:off x="820527" y="3339235"/>
            <a:ext cx="3978000" cy="2041408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800"/>
            </a:lvl1pPr>
            <a:lvl2pPr marL="239178" indent="-239178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3pPr>
            <a:lvl4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7" name="Text Placeholder 30"/>
          <p:cNvSpPr>
            <a:spLocks noGrp="1"/>
          </p:cNvSpPr>
          <p:nvPr>
            <p:ph type="body" sz="quarter" idx="21"/>
          </p:nvPr>
        </p:nvSpPr>
        <p:spPr bwMode="gray">
          <a:xfrm>
            <a:off x="4808168" y="3339235"/>
            <a:ext cx="3978000" cy="2041408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800"/>
            </a:lvl1pPr>
            <a:lvl2pPr marL="239178" indent="-239178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3pPr>
            <a:lvl4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27058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Matrix 1/3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 bwMode="gray">
          <a:xfrm>
            <a:off x="35242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grpSp>
        <p:nvGrpSpPr>
          <p:cNvPr id="22" name="Group 21"/>
          <p:cNvGrpSpPr/>
          <p:nvPr/>
        </p:nvGrpSpPr>
        <p:grpSpPr bwMode="gray">
          <a:xfrm>
            <a:off x="2618071" y="1296099"/>
            <a:ext cx="6195029" cy="4416888"/>
            <a:chOff x="3335008" y="1227538"/>
            <a:chExt cx="5473136" cy="3312666"/>
          </a:xfrm>
        </p:grpSpPr>
        <p:cxnSp>
          <p:nvCxnSpPr>
            <p:cNvPr id="23" name="Straight Arrow Connector 22"/>
            <p:cNvCxnSpPr/>
            <p:nvPr/>
          </p:nvCxnSpPr>
          <p:spPr bwMode="gray">
            <a:xfrm flipV="1">
              <a:off x="3335260" y="1228204"/>
              <a:ext cx="0" cy="331200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/>
            <p:cNvSpPr/>
            <p:nvPr/>
          </p:nvSpPr>
          <p:spPr bwMode="gray">
            <a:xfrm>
              <a:off x="3355442" y="1227538"/>
              <a:ext cx="246422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/>
                <a:t>++</a:t>
              </a:r>
              <a:endParaRPr lang="en-US" sz="1867" dirty="0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8561722" y="4315976"/>
              <a:ext cx="246422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/>
                <a:t>++</a:t>
              </a:r>
              <a:endParaRPr lang="en-US" sz="1867" dirty="0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3407841" y="4315976"/>
              <a:ext cx="141621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/>
                <a:t>--</a:t>
              </a:r>
              <a:endParaRPr lang="en-US" sz="1867" dirty="0"/>
            </a:p>
          </p:txBody>
        </p:sp>
        <p:cxnSp>
          <p:nvCxnSpPr>
            <p:cNvPr id="30" name="Straight Arrow Connector 29"/>
            <p:cNvCxnSpPr/>
            <p:nvPr/>
          </p:nvCxnSpPr>
          <p:spPr bwMode="gray">
            <a:xfrm>
              <a:off x="3335008" y="4540204"/>
              <a:ext cx="5448993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62"/>
          <p:cNvGrpSpPr/>
          <p:nvPr/>
        </p:nvGrpSpPr>
        <p:grpSpPr bwMode="gray">
          <a:xfrm>
            <a:off x="2934432" y="1295564"/>
            <a:ext cx="5857144" cy="4084544"/>
            <a:chOff x="813530" y="1454889"/>
            <a:chExt cx="7970470" cy="2993966"/>
          </a:xfrm>
        </p:grpSpPr>
        <p:sp>
          <p:nvSpPr>
            <p:cNvPr id="32" name="Rectangle 499"/>
            <p:cNvSpPr>
              <a:spLocks noChangeArrowheads="1"/>
            </p:cNvSpPr>
            <p:nvPr/>
          </p:nvSpPr>
          <p:spPr bwMode="gray">
            <a:xfrm>
              <a:off x="813530" y="1454889"/>
              <a:ext cx="7970470" cy="299269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/>
            </a:p>
          </p:txBody>
        </p:sp>
        <p:cxnSp>
          <p:nvCxnSpPr>
            <p:cNvPr id="33" name="Straight Connector 32"/>
            <p:cNvCxnSpPr/>
            <p:nvPr/>
          </p:nvCxnSpPr>
          <p:spPr bwMode="gray">
            <a:xfrm>
              <a:off x="4798765" y="1456156"/>
              <a:ext cx="0" cy="2992699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 bwMode="gray">
            <a:xfrm>
              <a:off x="813600" y="2952505"/>
              <a:ext cx="7970400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Text Placeholder 2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503124" y="2155623"/>
            <a:ext cx="318924" cy="2364429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91483" y="5592649"/>
            <a:ext cx="2437133" cy="246221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21972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x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/>
          <p:cNvSpPr>
            <a:spLocks noGrp="1"/>
          </p:cNvSpPr>
          <p:nvPr>
            <p:ph type="body" sz="quarter" idx="15"/>
          </p:nvPr>
        </p:nvSpPr>
        <p:spPr bwMode="gray">
          <a:xfrm>
            <a:off x="679357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grpSp>
        <p:nvGrpSpPr>
          <p:cNvPr id="36" name="Group 35"/>
          <p:cNvGrpSpPr/>
          <p:nvPr/>
        </p:nvGrpSpPr>
        <p:grpSpPr bwMode="gray">
          <a:xfrm>
            <a:off x="479236" y="1296099"/>
            <a:ext cx="6186968" cy="4416888"/>
            <a:chOff x="3335008" y="1227538"/>
            <a:chExt cx="5473299" cy="3312666"/>
          </a:xfrm>
        </p:grpSpPr>
        <p:cxnSp>
          <p:nvCxnSpPr>
            <p:cNvPr id="37" name="Straight Arrow Connector 36"/>
            <p:cNvCxnSpPr/>
            <p:nvPr/>
          </p:nvCxnSpPr>
          <p:spPr bwMode="gray">
            <a:xfrm flipV="1">
              <a:off x="3335260" y="1228204"/>
              <a:ext cx="0" cy="331200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/>
            <p:cNvSpPr/>
            <p:nvPr/>
          </p:nvSpPr>
          <p:spPr bwMode="gray">
            <a:xfrm>
              <a:off x="3392482" y="1227538"/>
              <a:ext cx="246750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/>
                <a:t>++</a:t>
              </a:r>
              <a:endParaRPr lang="en-US" sz="1867" dirty="0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561557" y="4315976"/>
              <a:ext cx="246750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/>
                <a:t>++</a:t>
              </a:r>
              <a:endParaRPr lang="en-US" sz="1867" dirty="0"/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3444952" y="4315976"/>
              <a:ext cx="141809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/>
                <a:t>--</a:t>
              </a:r>
              <a:endParaRPr lang="en-US" sz="1867" dirty="0"/>
            </a:p>
          </p:txBody>
        </p:sp>
        <p:cxnSp>
          <p:nvCxnSpPr>
            <p:cNvPr id="41" name="Straight Arrow Connector 40"/>
            <p:cNvCxnSpPr/>
            <p:nvPr/>
          </p:nvCxnSpPr>
          <p:spPr bwMode="gray">
            <a:xfrm>
              <a:off x="3335008" y="4540204"/>
              <a:ext cx="5448993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oup 62"/>
          <p:cNvGrpSpPr/>
          <p:nvPr/>
        </p:nvGrpSpPr>
        <p:grpSpPr bwMode="gray">
          <a:xfrm>
            <a:off x="791308" y="1295564"/>
            <a:ext cx="5853217" cy="4084544"/>
            <a:chOff x="813530" y="1454889"/>
            <a:chExt cx="7970470" cy="2993966"/>
          </a:xfrm>
        </p:grpSpPr>
        <p:sp>
          <p:nvSpPr>
            <p:cNvPr id="43" name="Rectangle 499"/>
            <p:cNvSpPr>
              <a:spLocks noChangeArrowheads="1"/>
            </p:cNvSpPr>
            <p:nvPr/>
          </p:nvSpPr>
          <p:spPr bwMode="gray">
            <a:xfrm>
              <a:off x="813530" y="1454889"/>
              <a:ext cx="7970470" cy="299269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/>
            </a:p>
          </p:txBody>
        </p:sp>
        <p:cxnSp>
          <p:nvCxnSpPr>
            <p:cNvPr id="44" name="Straight Connector 43"/>
            <p:cNvCxnSpPr/>
            <p:nvPr/>
          </p:nvCxnSpPr>
          <p:spPr bwMode="gray">
            <a:xfrm>
              <a:off x="4798765" y="1456156"/>
              <a:ext cx="0" cy="2992699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 bwMode="gray">
            <a:xfrm>
              <a:off x="813600" y="2952505"/>
              <a:ext cx="7970400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Text Placeholder 2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55274" y="2155623"/>
            <a:ext cx="318924" cy="2364429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448360" y="5592649"/>
            <a:ext cx="2437133" cy="246221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45267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speaker">
    <p:bg bwMode="gray">
      <p:bgPr>
        <a:gradFill>
          <a:gsLst>
            <a:gs pos="10000">
              <a:srgbClr val="E4312C"/>
            </a:gs>
            <a:gs pos="90000">
              <a:srgbClr val="F18E0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hthoek 1"/>
          <p:cNvSpPr/>
          <p:nvPr/>
        </p:nvSpPr>
        <p:spPr bwMode="gray">
          <a:xfrm>
            <a:off x="352425" y="2084919"/>
            <a:ext cx="8439150" cy="2359263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nl-NL" sz="2400" dirty="0" err="1">
              <a:solidFill>
                <a:srgbClr val="FFFFFF"/>
              </a:solidFill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6476283" y="2084919"/>
            <a:ext cx="2315292" cy="2359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pic>
        <p:nvPicPr>
          <p:cNvPr id="43" name="Picture 42" descr="Portret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784329" y="2743463"/>
            <a:ext cx="1699200" cy="1699200"/>
          </a:xfrm>
          <a:prstGeom prst="rect">
            <a:avLst/>
          </a:prstGeom>
        </p:spPr>
      </p:pic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5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Title 52"/>
          <p:cNvSpPr>
            <a:spLocks noGrp="1"/>
          </p:cNvSpPr>
          <p:nvPr>
            <p:ph type="title" hasCustomPrompt="1"/>
          </p:nvPr>
        </p:nvSpPr>
        <p:spPr bwMode="gray">
          <a:xfrm>
            <a:off x="352425" y="2084919"/>
            <a:ext cx="6123858" cy="2359263"/>
          </a:xfrm>
        </p:spPr>
        <p:txBody>
          <a:bodyPr lIns="298800" tIns="118800" rIns="118800" bIns="93600" anchor="t" anchorCtr="0">
            <a:noAutofit/>
          </a:bodyPr>
          <a:lstStyle>
            <a:lvl1pPr>
              <a:lnSpc>
                <a:spcPct val="90000"/>
              </a:lnSpc>
              <a:defRPr sz="54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476283" y="2084919"/>
            <a:ext cx="2315292" cy="2359263"/>
          </a:xfrm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grpSp>
        <p:nvGrpSpPr>
          <p:cNvPr id="29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30" name="Freeform 29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7838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7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39" grpId="0" animBg="1"/>
      <p:bldP spid="53" grpId="0"/>
      <p:bldP spid="4" grpId="0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9" name="Straight Arrow Connector 38"/>
          <p:cNvCxnSpPr/>
          <p:nvPr/>
        </p:nvCxnSpPr>
        <p:spPr bwMode="gray">
          <a:xfrm>
            <a:off x="4756364" y="5713520"/>
            <a:ext cx="4031855" cy="0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/>
          <p:cNvSpPr>
            <a:spLocks noGrp="1"/>
          </p:cNvSpPr>
          <p:nvPr>
            <p:ph type="body" sz="quarter" idx="12"/>
          </p:nvPr>
        </p:nvSpPr>
        <p:spPr bwMode="gray">
          <a:xfrm>
            <a:off x="352425" y="1298829"/>
            <a:ext cx="4140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5" name="Straight Arrow Connector 34"/>
          <p:cNvCxnSpPr/>
          <p:nvPr/>
        </p:nvCxnSpPr>
        <p:spPr bwMode="gray">
          <a:xfrm flipV="1">
            <a:off x="4756363" y="1297520"/>
            <a:ext cx="0" cy="4416000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 bwMode="gray">
          <a:xfrm>
            <a:off x="4797499" y="1296634"/>
            <a:ext cx="278924" cy="28732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867" dirty="0"/>
              <a:t>++</a:t>
            </a:r>
            <a:endParaRPr lang="en-US" sz="1867" dirty="0"/>
          </a:p>
        </p:txBody>
      </p:sp>
      <p:sp>
        <p:nvSpPr>
          <p:cNvPr id="37" name="Rectangle 36"/>
          <p:cNvSpPr/>
          <p:nvPr/>
        </p:nvSpPr>
        <p:spPr bwMode="gray">
          <a:xfrm>
            <a:off x="8551489" y="5414551"/>
            <a:ext cx="278924" cy="28732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867" dirty="0"/>
              <a:t>++</a:t>
            </a:r>
            <a:endParaRPr lang="en-US" sz="1867" dirty="0"/>
          </a:p>
        </p:txBody>
      </p:sp>
      <p:sp>
        <p:nvSpPr>
          <p:cNvPr id="38" name="Rectangle 37"/>
          <p:cNvSpPr/>
          <p:nvPr/>
        </p:nvSpPr>
        <p:spPr bwMode="gray">
          <a:xfrm>
            <a:off x="4856811" y="5414551"/>
            <a:ext cx="160300" cy="28732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867" dirty="0"/>
              <a:t>--</a:t>
            </a:r>
            <a:endParaRPr lang="en-US" sz="1867" dirty="0"/>
          </a:p>
        </p:txBody>
      </p:sp>
      <p:grpSp>
        <p:nvGrpSpPr>
          <p:cNvPr id="40" name="Group 62"/>
          <p:cNvGrpSpPr/>
          <p:nvPr/>
        </p:nvGrpSpPr>
        <p:grpSpPr bwMode="gray">
          <a:xfrm>
            <a:off x="5117593" y="1296097"/>
            <a:ext cx="3677553" cy="4084544"/>
            <a:chOff x="813530" y="1454889"/>
            <a:chExt cx="7970470" cy="2993966"/>
          </a:xfrm>
        </p:grpSpPr>
        <p:sp>
          <p:nvSpPr>
            <p:cNvPr id="41" name="Rectangle 499"/>
            <p:cNvSpPr>
              <a:spLocks noChangeArrowheads="1"/>
            </p:cNvSpPr>
            <p:nvPr/>
          </p:nvSpPr>
          <p:spPr bwMode="gray">
            <a:xfrm>
              <a:off x="813530" y="1454889"/>
              <a:ext cx="7970470" cy="299269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/>
            </a:p>
          </p:txBody>
        </p:sp>
        <p:cxnSp>
          <p:nvCxnSpPr>
            <p:cNvPr id="42" name="Straight Connector 41"/>
            <p:cNvCxnSpPr/>
            <p:nvPr/>
          </p:nvCxnSpPr>
          <p:spPr bwMode="gray">
            <a:xfrm>
              <a:off x="4798765" y="1456156"/>
              <a:ext cx="0" cy="2992699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 bwMode="gray">
            <a:xfrm>
              <a:off x="813600" y="2952505"/>
              <a:ext cx="7970400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Text Placeholder 2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627681" y="2156156"/>
            <a:ext cx="318924" cy="2364429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737803" y="5655704"/>
            <a:ext cx="2437133" cy="246221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20316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/>
          <p:cNvGrpSpPr/>
          <p:nvPr/>
        </p:nvGrpSpPr>
        <p:grpSpPr bwMode="gray">
          <a:xfrm>
            <a:off x="0" y="6243917"/>
            <a:ext cx="9144000" cy="614084"/>
            <a:chOff x="0" y="4682937"/>
            <a:chExt cx="9144000" cy="460563"/>
          </a:xfrm>
        </p:grpSpPr>
        <p:sp>
          <p:nvSpPr>
            <p:cNvPr id="34" name="Rectangle 33"/>
            <p:cNvSpPr/>
            <p:nvPr/>
          </p:nvSpPr>
          <p:spPr bwMode="gray">
            <a:xfrm>
              <a:off x="0" y="46915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noProof="0"/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0" y="4682937"/>
              <a:ext cx="9144000" cy="144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36" name="Pentagon 28"/>
          <p:cNvSpPr/>
          <p:nvPr/>
        </p:nvSpPr>
        <p:spPr bwMode="gray">
          <a:xfrm>
            <a:off x="-1" y="6243917"/>
            <a:ext cx="804523" cy="614083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3718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9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40" name="Freeform 39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27" name="Group 26"/>
          <p:cNvGrpSpPr/>
          <p:nvPr/>
        </p:nvGrpSpPr>
        <p:grpSpPr bwMode="gray">
          <a:xfrm>
            <a:off x="-1591365" y="338781"/>
            <a:ext cx="1531557" cy="840729"/>
            <a:chOff x="-720001" y="254084"/>
            <a:chExt cx="1080000" cy="630547"/>
          </a:xfrm>
        </p:grpSpPr>
        <p:cxnSp>
          <p:nvCxnSpPr>
            <p:cNvPr id="28" name="Straight Connector 27"/>
            <p:cNvCxnSpPr/>
            <p:nvPr/>
          </p:nvCxnSpPr>
          <p:spPr bwMode="gray">
            <a:xfrm>
              <a:off x="-720001" y="884631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-720001" y="254084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ectangle 29"/>
          <p:cNvSpPr/>
          <p:nvPr/>
        </p:nvSpPr>
        <p:spPr bwMode="gray">
          <a:xfrm>
            <a:off x="-1499807" y="338779"/>
            <a:ext cx="1313433" cy="840728"/>
          </a:xfrm>
          <a:prstGeom prst="rect">
            <a:avLst/>
          </a:prstGeom>
          <a:solidFill>
            <a:schemeClr val="bg2">
              <a:lumMod val="60000"/>
              <a:lumOff val="4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b" anchorCtr="0">
            <a:noAutofit/>
          </a:bodyPr>
          <a:lstStyle/>
          <a:p>
            <a:pPr algn="l"/>
            <a:r>
              <a:rPr lang="en-US" sz="1000" b="0">
                <a:solidFill>
                  <a:schemeClr val="tx1"/>
                </a:solidFill>
              </a:rPr>
              <a:t>Title area</a:t>
            </a:r>
          </a:p>
          <a:p>
            <a:pPr algn="l"/>
            <a:r>
              <a:rPr lang="en-US" sz="1000" b="0">
                <a:solidFill>
                  <a:schemeClr val="tx1"/>
                </a:solidFill>
              </a:rPr>
              <a:t>max over 2 lines</a:t>
            </a:r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560948" y="5971352"/>
            <a:ext cx="1501140" cy="77210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" bIns="108000" rtlCol="0" anchor="t" anchorCtr="0">
            <a:sp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Insert Topic Icons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Click on the picture icon and </a:t>
            </a:r>
            <a:r>
              <a:rPr lang="en-US" sz="900" b="0" i="0" baseline="0">
                <a:solidFill>
                  <a:schemeClr val="tx1"/>
                </a:solidFill>
              </a:rPr>
              <a:t>browse to the location of </a:t>
            </a:r>
            <a:r>
              <a:rPr lang="en-US" sz="900" b="0" baseline="0">
                <a:solidFill>
                  <a:schemeClr val="tx1"/>
                </a:solidFill>
              </a:rPr>
              <a:t>the Topic Icons</a:t>
            </a:r>
            <a:endParaRPr lang="en-US" sz="9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1572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 with AkzoNobel logo whit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edia Placeholder 42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0" y="-12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8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8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8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8" y="411834"/>
                  <a:pt x="6563878" y="411834"/>
                  <a:pt x="6563878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Movie </a:t>
            </a:r>
            <a:endParaRPr lang="en-US" dirty="0"/>
          </a:p>
          <a:p>
            <a:r>
              <a:rPr lang="en-US"/>
              <a:t>(in WMV format for Windows platform)</a:t>
            </a:r>
            <a:endParaRPr lang="en-US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en-US" dirty="0"/>
          </a:p>
          <a:p>
            <a:endParaRPr lang="en-US" dirty="0"/>
          </a:p>
        </p:txBody>
      </p:sp>
      <p:grpSp>
        <p:nvGrpSpPr>
          <p:cNvPr id="17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18" name="Freeform 17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5" name="Rectangle 14"/>
          <p:cNvSpPr/>
          <p:nvPr/>
        </p:nvSpPr>
        <p:spPr bwMode="gray">
          <a:xfrm>
            <a:off x="9288780" y="182684"/>
            <a:ext cx="1501140" cy="132610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Supported format for the</a:t>
            </a:r>
            <a:r>
              <a:rPr lang="en-US" sz="900" b="1" baseline="0">
                <a:solidFill>
                  <a:schemeClr val="tx1"/>
                </a:solidFill>
              </a:rPr>
              <a:t> Windows platform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• WMV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>
                <a:solidFill>
                  <a:schemeClr val="tx1"/>
                </a:solidFill>
              </a:rPr>
              <a:t>• MPG</a:t>
            </a:r>
          </a:p>
          <a:p>
            <a:pPr algn="l"/>
            <a:endParaRPr lang="en-US" sz="900" b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MP4</a:t>
            </a:r>
            <a:r>
              <a:rPr lang="en-US" sz="900" b="0" baseline="0">
                <a:solidFill>
                  <a:schemeClr val="tx1"/>
                </a:solidFill>
              </a:rPr>
              <a:t> not (yet) fully supported without </a:t>
            </a:r>
          </a:p>
          <a:p>
            <a:pPr algn="l"/>
            <a:r>
              <a:rPr lang="en-US" sz="900" b="0" baseline="0">
                <a:solidFill>
                  <a:schemeClr val="tx1"/>
                </a:solidFill>
              </a:rPr>
              <a:t>QT Player</a:t>
            </a:r>
            <a:endParaRPr lang="en-US" sz="9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6999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 with AkzoNobel logo blu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edia Placeholder 42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0" y="-12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7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7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7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7" y="411834"/>
                  <a:pt x="6563877" y="411834"/>
                  <a:pt x="6563877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6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Movie </a:t>
            </a:r>
            <a:endParaRPr lang="en-US" dirty="0"/>
          </a:p>
          <a:p>
            <a:r>
              <a:rPr lang="en-US"/>
              <a:t>(in WMV format for Windows platform)</a:t>
            </a:r>
            <a:endParaRPr lang="en-US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en-US" dirty="0"/>
          </a:p>
          <a:p>
            <a:endParaRPr lang="en-US" dirty="0"/>
          </a:p>
        </p:txBody>
      </p:sp>
      <p:grpSp>
        <p:nvGrpSpPr>
          <p:cNvPr id="27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28" name="Freeform 27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5" name="Rectangle 14"/>
          <p:cNvSpPr/>
          <p:nvPr/>
        </p:nvSpPr>
        <p:spPr bwMode="gray">
          <a:xfrm>
            <a:off x="9288780" y="182684"/>
            <a:ext cx="1501140" cy="132610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Supported format for the</a:t>
            </a:r>
            <a:r>
              <a:rPr lang="en-US" sz="900" b="1" baseline="0">
                <a:solidFill>
                  <a:schemeClr val="tx1"/>
                </a:solidFill>
              </a:rPr>
              <a:t> Windows platform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• WMV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>
                <a:solidFill>
                  <a:schemeClr val="tx1"/>
                </a:solidFill>
              </a:rPr>
              <a:t>• MPG</a:t>
            </a:r>
          </a:p>
          <a:p>
            <a:pPr algn="l"/>
            <a:endParaRPr lang="en-US" sz="900" b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MP4</a:t>
            </a:r>
            <a:r>
              <a:rPr lang="en-US" sz="900" b="0" baseline="0">
                <a:solidFill>
                  <a:schemeClr val="tx1"/>
                </a:solidFill>
              </a:rPr>
              <a:t> not (yet) fully supported without </a:t>
            </a:r>
          </a:p>
          <a:p>
            <a:pPr algn="l"/>
            <a:r>
              <a:rPr lang="en-US" sz="900" b="0" baseline="0">
                <a:solidFill>
                  <a:schemeClr val="tx1"/>
                </a:solidFill>
              </a:rPr>
              <a:t>QT Player</a:t>
            </a:r>
            <a:endParaRPr lang="en-US" sz="9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0206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 without AkzoNobel logo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0" y="0"/>
            <a:ext cx="9144000" cy="6858000"/>
          </a:xfrm>
          <a:noFill/>
        </p:spPr>
        <p:txBody>
          <a:bodyPr anchor="ctr" anchorCtr="0"/>
          <a:lstStyle>
            <a:lvl1pPr marL="0" marR="0" indent="0" algn="ctr" defTabSz="1219170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Movie </a:t>
            </a:r>
            <a:endParaRPr lang="en-US" dirty="0"/>
          </a:p>
          <a:p>
            <a:r>
              <a:rPr lang="en-US"/>
              <a:t>(in WMV format for Windows platform)</a:t>
            </a:r>
            <a:endParaRPr lang="en-US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 bwMode="gray">
          <a:xfrm>
            <a:off x="9288780" y="182684"/>
            <a:ext cx="1501140" cy="132610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Supported format for the</a:t>
            </a:r>
            <a:r>
              <a:rPr lang="en-US" sz="900" b="1" baseline="0">
                <a:solidFill>
                  <a:schemeClr val="tx1"/>
                </a:solidFill>
              </a:rPr>
              <a:t> Windows platform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• WMV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>
                <a:solidFill>
                  <a:schemeClr val="tx1"/>
                </a:solidFill>
              </a:rPr>
              <a:t>• MPG</a:t>
            </a:r>
          </a:p>
          <a:p>
            <a:pPr algn="l"/>
            <a:endParaRPr lang="en-US" sz="900" b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MP4</a:t>
            </a:r>
            <a:r>
              <a:rPr lang="en-US" sz="900" b="0" baseline="0">
                <a:solidFill>
                  <a:schemeClr val="tx1"/>
                </a:solidFill>
              </a:rPr>
              <a:t> not (yet) fully supported without </a:t>
            </a:r>
          </a:p>
          <a:p>
            <a:pPr algn="l"/>
            <a:r>
              <a:rPr lang="en-US" sz="900" b="0" baseline="0">
                <a:solidFill>
                  <a:schemeClr val="tx1"/>
                </a:solidFill>
              </a:rPr>
              <a:t>QT Player</a:t>
            </a:r>
            <a:endParaRPr lang="en-US" sz="9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260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01649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Essentials">
    <p:bg bwMode="gray">
      <p:bgPr>
        <a:solidFill>
          <a:srgbClr val="B9C9D0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 bwMode="gray">
          <a:xfrm>
            <a:off x="-8100" y="-1"/>
            <a:ext cx="3052800" cy="6864000"/>
          </a:xfrm>
          <a:noFill/>
        </p:spPr>
        <p:txBody>
          <a:bodyPr lIns="144000" tIns="144000" rIns="144000" bIns="720000" anchor="ctr" anchorCtr="0"/>
          <a:lstStyle>
            <a:lvl1pPr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3045600" y="-1"/>
            <a:ext cx="3052800" cy="6864000"/>
          </a:xfrm>
          <a:noFill/>
        </p:spPr>
        <p:txBody>
          <a:bodyPr lIns="144000" tIns="144000" rIns="144000" bIns="720000" anchor="ctr" anchorCtr="0"/>
          <a:lstStyle>
            <a:lvl1pPr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Picture Placeholder 12"/>
          <p:cNvSpPr>
            <a:spLocks noGrp="1"/>
          </p:cNvSpPr>
          <p:nvPr>
            <p:ph type="pic" sz="quarter" idx="15"/>
          </p:nvPr>
        </p:nvSpPr>
        <p:spPr bwMode="gray">
          <a:xfrm>
            <a:off x="6096600" y="0"/>
            <a:ext cx="3052800" cy="6864000"/>
          </a:xfrm>
          <a:noFill/>
        </p:spPr>
        <p:txBody>
          <a:bodyPr lIns="144000" tIns="144000" rIns="144000" bIns="720000" anchor="ctr" anchorCtr="0"/>
          <a:lstStyle>
            <a:lvl1pPr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30"/>
          <p:cNvSpPr>
            <a:spLocks noGrp="1" noChangeAspect="1"/>
          </p:cNvSpPr>
          <p:nvPr>
            <p:ph type="body" sz="quarter" idx="16" hasCustomPrompt="1"/>
          </p:nvPr>
        </p:nvSpPr>
        <p:spPr bwMode="gray">
          <a:xfrm>
            <a:off x="1350883" y="3429000"/>
            <a:ext cx="1620000" cy="1620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 anchor="ctr" anchorCtr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6" name="Text Placeholder 30"/>
          <p:cNvSpPr>
            <a:spLocks noGrp="1" noChangeAspect="1"/>
          </p:cNvSpPr>
          <p:nvPr>
            <p:ph type="body" sz="quarter" idx="18" hasCustomPrompt="1"/>
          </p:nvPr>
        </p:nvSpPr>
        <p:spPr bwMode="gray">
          <a:xfrm>
            <a:off x="4398283" y="3429000"/>
            <a:ext cx="1620000" cy="1620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 anchor="ctr" anchorCtr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7" name="Text Placeholder 30"/>
          <p:cNvSpPr>
            <a:spLocks noGrp="1" noChangeAspect="1"/>
          </p:cNvSpPr>
          <p:nvPr>
            <p:ph type="body" sz="quarter" idx="19" hasCustomPrompt="1"/>
          </p:nvPr>
        </p:nvSpPr>
        <p:spPr bwMode="gray">
          <a:xfrm>
            <a:off x="7445683" y="3429000"/>
            <a:ext cx="1620000" cy="1620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 anchor="ctr" anchorCtr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9" name="Rectangle 8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17" name="Rectangle 16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19" name="Straight Arrow Connector 18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>
              <a:stCxn id="11" idx="0"/>
              <a:endCxn id="11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>
              <a:stCxn id="11" idx="3"/>
              <a:endCxn id="11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2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  <p:grpSp>
        <p:nvGrpSpPr>
          <p:cNvPr id="24" name="Group 23"/>
          <p:cNvGrpSpPr/>
          <p:nvPr userDrawn="1"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27" name="Rectangle 26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34" name="Rectangle 33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36" name="Straight Arrow Connector 35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>
              <a:stCxn id="11" idx="0"/>
              <a:endCxn id="11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>
              <a:stCxn id="11" idx="3"/>
              <a:endCxn id="11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val 39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1767881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bg bwMode="gray">
      <p:bgPr>
        <a:gradFill>
          <a:gsLst>
            <a:gs pos="10000">
              <a:srgbClr val="E4312C"/>
            </a:gs>
            <a:gs pos="90000">
              <a:srgbClr val="F18E0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60000" y="2338075"/>
            <a:ext cx="8431576" cy="3675377"/>
          </a:xfrm>
        </p:spPr>
        <p:txBody>
          <a:bodyPr anchor="t" anchorCtr="0"/>
          <a:lstStyle>
            <a:lvl1pPr>
              <a:lnSpc>
                <a:spcPct val="80000"/>
              </a:lnSpc>
              <a:defRPr sz="9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4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15" name="Freeform 14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8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1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2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3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1804708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119562" y="6358645"/>
            <a:ext cx="385200" cy="3852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Footer Placeholder 36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38" name="Slide Number Placeholder 37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gray">
          <a:xfrm>
            <a:off x="352426" y="1298829"/>
            <a:ext cx="84384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6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08180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119562" y="6358645"/>
            <a:ext cx="385200" cy="3852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Footer Placeholder 36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38" name="Slide Number Placeholder 37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gray">
          <a:xfrm>
            <a:off x="352426" y="1298829"/>
            <a:ext cx="84384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6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081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 speakers">
    <p:bg bwMode="gray">
      <p:bgPr>
        <a:gradFill>
          <a:gsLst>
            <a:gs pos="10000">
              <a:srgbClr val="E4312C"/>
            </a:gs>
            <a:gs pos="90000">
              <a:srgbClr val="F18E0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8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Picture Placeholder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48933" y="1181099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55600" y="3057056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77" name="Picture Placeholder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2701856" y="1181099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78" name="Text Placeholder 5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505349" y="3057056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79" name="Picture Placeholder 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4854779" y="1181099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80" name="Text Placehold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658272" y="3057056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81" name="Picture Placeholder 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7007701" y="1181099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82" name="Text Placeholder 5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814368" y="3057056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0" name="Picture Placeholder 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48933" y="3708570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1" name="Text Placeholder 5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55600" y="5584527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2" name="Picture Placeholder 3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2701856" y="3708570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3" name="Text Placeholder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505349" y="5584525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4" name="Picture Placeholder 3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854779" y="3708570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5" name="Text Placeholder 5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658272" y="5584527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6" name="Picture Placeholder 3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7007701" y="3708570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7" name="Text Placeholder 5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814368" y="5584527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33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34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2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33" name="Freeform 32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396880319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gradFill>
          <a:gsLst>
            <a:gs pos="10000">
              <a:srgbClr val="E4312C"/>
            </a:gs>
            <a:gs pos="90000">
              <a:srgbClr val="F18E0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 bwMode="gray">
          <a:xfrm>
            <a:off x="0" y="-1"/>
            <a:ext cx="9144000" cy="2820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 bwMode="gray">
          <a:xfrm>
            <a:off x="1" y="1689100"/>
            <a:ext cx="9143999" cy="699756"/>
            <a:chOff x="2087598" y="1250423"/>
            <a:chExt cx="7056402" cy="541219"/>
          </a:xfrm>
        </p:grpSpPr>
        <p:grpSp>
          <p:nvGrpSpPr>
            <p:cNvPr id="25" name="Group 24"/>
            <p:cNvGrpSpPr/>
            <p:nvPr/>
          </p:nvGrpSpPr>
          <p:grpSpPr bwMode="gray">
            <a:xfrm>
              <a:off x="6065072" y="1250423"/>
              <a:ext cx="2851590" cy="534134"/>
              <a:chOff x="6082760" y="2229099"/>
              <a:chExt cx="2851590" cy="534134"/>
            </a:xfrm>
          </p:grpSpPr>
          <p:sp>
            <p:nvSpPr>
              <p:cNvPr id="26" name="AutoShape 21"/>
              <p:cNvSpPr>
                <a:spLocks noChangeAspect="1" noChangeArrowheads="1" noTextEdit="1"/>
              </p:cNvSpPr>
              <p:nvPr/>
            </p:nvSpPr>
            <p:spPr bwMode="gray">
              <a:xfrm>
                <a:off x="6082760" y="2230248"/>
                <a:ext cx="2848718" cy="53298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23"/>
              <p:cNvSpPr>
                <a:spLocks noEditPoints="1"/>
              </p:cNvSpPr>
              <p:nvPr/>
            </p:nvSpPr>
            <p:spPr bwMode="gray">
              <a:xfrm>
                <a:off x="7684590" y="2229099"/>
                <a:ext cx="1249760" cy="532985"/>
              </a:xfrm>
              <a:custGeom>
                <a:avLst/>
                <a:gdLst/>
                <a:ahLst/>
                <a:cxnLst>
                  <a:cxn ang="0">
                    <a:pos x="898" y="12"/>
                  </a:cxn>
                  <a:cxn ang="0">
                    <a:pos x="882" y="34"/>
                  </a:cxn>
                  <a:cxn ang="0">
                    <a:pos x="865" y="65"/>
                  </a:cxn>
                  <a:cxn ang="0">
                    <a:pos x="872" y="23"/>
                  </a:cxn>
                  <a:cxn ang="0">
                    <a:pos x="869" y="1"/>
                  </a:cxn>
                  <a:cxn ang="0">
                    <a:pos x="857" y="38"/>
                  </a:cxn>
                  <a:cxn ang="0">
                    <a:pos x="848" y="76"/>
                  </a:cxn>
                  <a:cxn ang="0">
                    <a:pos x="845" y="17"/>
                  </a:cxn>
                  <a:cxn ang="0">
                    <a:pos x="833" y="31"/>
                  </a:cxn>
                  <a:cxn ang="0">
                    <a:pos x="834" y="63"/>
                  </a:cxn>
                  <a:cxn ang="0">
                    <a:pos x="832" y="59"/>
                  </a:cxn>
                  <a:cxn ang="0">
                    <a:pos x="818" y="33"/>
                  </a:cxn>
                  <a:cxn ang="0">
                    <a:pos x="819" y="69"/>
                  </a:cxn>
                  <a:cxn ang="0">
                    <a:pos x="798" y="105"/>
                  </a:cxn>
                  <a:cxn ang="0">
                    <a:pos x="750" y="107"/>
                  </a:cxn>
                  <a:cxn ang="0">
                    <a:pos x="633" y="184"/>
                  </a:cxn>
                  <a:cxn ang="0">
                    <a:pos x="496" y="256"/>
                  </a:cxn>
                  <a:cxn ang="0">
                    <a:pos x="536" y="219"/>
                  </a:cxn>
                  <a:cxn ang="0">
                    <a:pos x="322" y="389"/>
                  </a:cxn>
                  <a:cxn ang="0">
                    <a:pos x="423" y="393"/>
                  </a:cxn>
                  <a:cxn ang="0">
                    <a:pos x="418" y="346"/>
                  </a:cxn>
                  <a:cxn ang="0">
                    <a:pos x="645" y="268"/>
                  </a:cxn>
                  <a:cxn ang="0">
                    <a:pos x="766" y="146"/>
                  </a:cxn>
                  <a:cxn ang="0">
                    <a:pos x="830" y="108"/>
                  </a:cxn>
                  <a:cxn ang="0">
                    <a:pos x="853" y="91"/>
                  </a:cxn>
                  <a:cxn ang="0">
                    <a:pos x="884" y="56"/>
                  </a:cxn>
                  <a:cxn ang="0">
                    <a:pos x="915" y="9"/>
                  </a:cxn>
                  <a:cxn ang="0">
                    <a:pos x="417" y="125"/>
                  </a:cxn>
                  <a:cxn ang="0">
                    <a:pos x="425" y="117"/>
                  </a:cxn>
                  <a:cxn ang="0">
                    <a:pos x="401" y="109"/>
                  </a:cxn>
                  <a:cxn ang="0">
                    <a:pos x="417" y="125"/>
                  </a:cxn>
                  <a:cxn ang="0">
                    <a:pos x="356" y="110"/>
                  </a:cxn>
                  <a:cxn ang="0">
                    <a:pos x="355" y="147"/>
                  </a:cxn>
                  <a:cxn ang="0">
                    <a:pos x="351" y="135"/>
                  </a:cxn>
                  <a:cxn ang="0">
                    <a:pos x="335" y="119"/>
                  </a:cxn>
                  <a:cxn ang="0">
                    <a:pos x="435" y="213"/>
                  </a:cxn>
                  <a:cxn ang="0">
                    <a:pos x="361" y="234"/>
                  </a:cxn>
                  <a:cxn ang="0">
                    <a:pos x="369" y="209"/>
                  </a:cxn>
                  <a:cxn ang="0">
                    <a:pos x="372" y="183"/>
                  </a:cxn>
                  <a:cxn ang="0">
                    <a:pos x="392" y="172"/>
                  </a:cxn>
                  <a:cxn ang="0">
                    <a:pos x="377" y="163"/>
                  </a:cxn>
                  <a:cxn ang="0">
                    <a:pos x="400" y="164"/>
                  </a:cxn>
                  <a:cxn ang="0">
                    <a:pos x="388" y="153"/>
                  </a:cxn>
                  <a:cxn ang="0">
                    <a:pos x="396" y="139"/>
                  </a:cxn>
                  <a:cxn ang="0">
                    <a:pos x="369" y="88"/>
                  </a:cxn>
                  <a:cxn ang="0">
                    <a:pos x="319" y="39"/>
                  </a:cxn>
                  <a:cxn ang="0">
                    <a:pos x="275" y="91"/>
                  </a:cxn>
                  <a:cxn ang="0">
                    <a:pos x="288" y="98"/>
                  </a:cxn>
                  <a:cxn ang="0">
                    <a:pos x="293" y="147"/>
                  </a:cxn>
                  <a:cxn ang="0">
                    <a:pos x="292" y="276"/>
                  </a:cxn>
                  <a:cxn ang="0">
                    <a:pos x="278" y="272"/>
                  </a:cxn>
                  <a:cxn ang="0">
                    <a:pos x="248" y="289"/>
                  </a:cxn>
                  <a:cxn ang="0">
                    <a:pos x="186" y="332"/>
                  </a:cxn>
                  <a:cxn ang="0">
                    <a:pos x="119" y="365"/>
                  </a:cxn>
                  <a:cxn ang="0">
                    <a:pos x="267" y="393"/>
                  </a:cxn>
                  <a:cxn ang="0">
                    <a:pos x="756" y="99"/>
                  </a:cxn>
                  <a:cxn ang="0">
                    <a:pos x="805" y="78"/>
                  </a:cxn>
                  <a:cxn ang="0">
                    <a:pos x="791" y="68"/>
                  </a:cxn>
                  <a:cxn ang="0">
                    <a:pos x="807" y="34"/>
                  </a:cxn>
                  <a:cxn ang="0">
                    <a:pos x="783" y="45"/>
                  </a:cxn>
                  <a:cxn ang="0">
                    <a:pos x="754" y="98"/>
                  </a:cxn>
                </a:cxnLst>
                <a:rect l="0" t="0" r="r" b="b"/>
                <a:pathLst>
                  <a:path w="921" h="393">
                    <a:moveTo>
                      <a:pt x="910" y="2"/>
                    </a:moveTo>
                    <a:cubicBezTo>
                      <a:pt x="906" y="3"/>
                      <a:pt x="902" y="6"/>
                      <a:pt x="898" y="12"/>
                    </a:cubicBezTo>
                    <a:cubicBezTo>
                      <a:pt x="896" y="14"/>
                      <a:pt x="892" y="21"/>
                      <a:pt x="890" y="26"/>
                    </a:cubicBezTo>
                    <a:cubicBezTo>
                      <a:pt x="886" y="29"/>
                      <a:pt x="885" y="31"/>
                      <a:pt x="882" y="34"/>
                    </a:cubicBezTo>
                    <a:cubicBezTo>
                      <a:pt x="879" y="37"/>
                      <a:pt x="875" y="42"/>
                      <a:pt x="874" y="43"/>
                    </a:cubicBezTo>
                    <a:cubicBezTo>
                      <a:pt x="872" y="50"/>
                      <a:pt x="865" y="65"/>
                      <a:pt x="865" y="65"/>
                    </a:cubicBezTo>
                    <a:cubicBezTo>
                      <a:pt x="866" y="58"/>
                      <a:pt x="872" y="41"/>
                      <a:pt x="873" y="37"/>
                    </a:cubicBezTo>
                    <a:cubicBezTo>
                      <a:pt x="874" y="33"/>
                      <a:pt x="872" y="27"/>
                      <a:pt x="872" y="23"/>
                    </a:cubicBezTo>
                    <a:cubicBezTo>
                      <a:pt x="871" y="19"/>
                      <a:pt x="871" y="15"/>
                      <a:pt x="871" y="12"/>
                    </a:cubicBezTo>
                    <a:cubicBezTo>
                      <a:pt x="871" y="10"/>
                      <a:pt x="873" y="0"/>
                      <a:pt x="869" y="1"/>
                    </a:cubicBezTo>
                    <a:cubicBezTo>
                      <a:pt x="866" y="1"/>
                      <a:pt x="860" y="3"/>
                      <a:pt x="858" y="12"/>
                    </a:cubicBezTo>
                    <a:cubicBezTo>
                      <a:pt x="857" y="18"/>
                      <a:pt x="858" y="27"/>
                      <a:pt x="857" y="38"/>
                    </a:cubicBezTo>
                    <a:cubicBezTo>
                      <a:pt x="857" y="40"/>
                      <a:pt x="855" y="43"/>
                      <a:pt x="854" y="50"/>
                    </a:cubicBezTo>
                    <a:cubicBezTo>
                      <a:pt x="852" y="57"/>
                      <a:pt x="850" y="68"/>
                      <a:pt x="848" y="76"/>
                    </a:cubicBezTo>
                    <a:cubicBezTo>
                      <a:pt x="848" y="73"/>
                      <a:pt x="851" y="56"/>
                      <a:pt x="851" y="49"/>
                    </a:cubicBezTo>
                    <a:cubicBezTo>
                      <a:pt x="852" y="42"/>
                      <a:pt x="846" y="20"/>
                      <a:pt x="845" y="17"/>
                    </a:cubicBezTo>
                    <a:cubicBezTo>
                      <a:pt x="845" y="14"/>
                      <a:pt x="844" y="13"/>
                      <a:pt x="842" y="13"/>
                    </a:cubicBezTo>
                    <a:cubicBezTo>
                      <a:pt x="837" y="12"/>
                      <a:pt x="832" y="20"/>
                      <a:pt x="833" y="31"/>
                    </a:cubicBezTo>
                    <a:cubicBezTo>
                      <a:pt x="834" y="34"/>
                      <a:pt x="838" y="44"/>
                      <a:pt x="838" y="49"/>
                    </a:cubicBezTo>
                    <a:cubicBezTo>
                      <a:pt x="837" y="54"/>
                      <a:pt x="835" y="60"/>
                      <a:pt x="834" y="63"/>
                    </a:cubicBezTo>
                    <a:cubicBezTo>
                      <a:pt x="834" y="70"/>
                      <a:pt x="833" y="80"/>
                      <a:pt x="832" y="85"/>
                    </a:cubicBezTo>
                    <a:cubicBezTo>
                      <a:pt x="833" y="81"/>
                      <a:pt x="832" y="62"/>
                      <a:pt x="832" y="59"/>
                    </a:cubicBezTo>
                    <a:cubicBezTo>
                      <a:pt x="831" y="56"/>
                      <a:pt x="826" y="43"/>
                      <a:pt x="823" y="35"/>
                    </a:cubicBezTo>
                    <a:cubicBezTo>
                      <a:pt x="822" y="32"/>
                      <a:pt x="820" y="32"/>
                      <a:pt x="818" y="33"/>
                    </a:cubicBezTo>
                    <a:cubicBezTo>
                      <a:pt x="812" y="36"/>
                      <a:pt x="812" y="47"/>
                      <a:pt x="813" y="52"/>
                    </a:cubicBezTo>
                    <a:cubicBezTo>
                      <a:pt x="814" y="54"/>
                      <a:pt x="817" y="62"/>
                      <a:pt x="819" y="69"/>
                    </a:cubicBezTo>
                    <a:cubicBezTo>
                      <a:pt x="815" y="100"/>
                      <a:pt x="808" y="102"/>
                      <a:pt x="808" y="102"/>
                    </a:cubicBezTo>
                    <a:cubicBezTo>
                      <a:pt x="808" y="102"/>
                      <a:pt x="806" y="104"/>
                      <a:pt x="798" y="105"/>
                    </a:cubicBezTo>
                    <a:cubicBezTo>
                      <a:pt x="784" y="108"/>
                      <a:pt x="759" y="114"/>
                      <a:pt x="752" y="107"/>
                    </a:cubicBezTo>
                    <a:cubicBezTo>
                      <a:pt x="752" y="107"/>
                      <a:pt x="751" y="106"/>
                      <a:pt x="750" y="107"/>
                    </a:cubicBezTo>
                    <a:cubicBezTo>
                      <a:pt x="748" y="108"/>
                      <a:pt x="730" y="124"/>
                      <a:pt x="719" y="132"/>
                    </a:cubicBezTo>
                    <a:cubicBezTo>
                      <a:pt x="684" y="158"/>
                      <a:pt x="661" y="165"/>
                      <a:pt x="633" y="184"/>
                    </a:cubicBezTo>
                    <a:cubicBezTo>
                      <a:pt x="602" y="234"/>
                      <a:pt x="572" y="250"/>
                      <a:pt x="533" y="261"/>
                    </a:cubicBezTo>
                    <a:cubicBezTo>
                      <a:pt x="516" y="266"/>
                      <a:pt x="500" y="265"/>
                      <a:pt x="496" y="256"/>
                    </a:cubicBezTo>
                    <a:cubicBezTo>
                      <a:pt x="489" y="235"/>
                      <a:pt x="517" y="224"/>
                      <a:pt x="536" y="221"/>
                    </a:cubicBezTo>
                    <a:cubicBezTo>
                      <a:pt x="537" y="221"/>
                      <a:pt x="537" y="219"/>
                      <a:pt x="536" y="219"/>
                    </a:cubicBezTo>
                    <a:cubicBezTo>
                      <a:pt x="527" y="214"/>
                      <a:pt x="516" y="211"/>
                      <a:pt x="503" y="211"/>
                    </a:cubicBezTo>
                    <a:cubicBezTo>
                      <a:pt x="405" y="209"/>
                      <a:pt x="313" y="326"/>
                      <a:pt x="322" y="389"/>
                    </a:cubicBezTo>
                    <a:cubicBezTo>
                      <a:pt x="322" y="390"/>
                      <a:pt x="322" y="392"/>
                      <a:pt x="322" y="393"/>
                    </a:cubicBezTo>
                    <a:cubicBezTo>
                      <a:pt x="423" y="393"/>
                      <a:pt x="423" y="393"/>
                      <a:pt x="423" y="393"/>
                    </a:cubicBezTo>
                    <a:cubicBezTo>
                      <a:pt x="437" y="380"/>
                      <a:pt x="452" y="363"/>
                      <a:pt x="467" y="342"/>
                    </a:cubicBezTo>
                    <a:cubicBezTo>
                      <a:pt x="467" y="342"/>
                      <a:pt x="440" y="347"/>
                      <a:pt x="418" y="346"/>
                    </a:cubicBezTo>
                    <a:cubicBezTo>
                      <a:pt x="418" y="346"/>
                      <a:pt x="448" y="340"/>
                      <a:pt x="491" y="311"/>
                    </a:cubicBezTo>
                    <a:cubicBezTo>
                      <a:pt x="562" y="329"/>
                      <a:pt x="626" y="237"/>
                      <a:pt x="645" y="268"/>
                    </a:cubicBezTo>
                    <a:cubicBezTo>
                      <a:pt x="645" y="269"/>
                      <a:pt x="647" y="268"/>
                      <a:pt x="647" y="268"/>
                    </a:cubicBezTo>
                    <a:cubicBezTo>
                      <a:pt x="704" y="229"/>
                      <a:pt x="726" y="180"/>
                      <a:pt x="766" y="146"/>
                    </a:cubicBezTo>
                    <a:cubicBezTo>
                      <a:pt x="784" y="131"/>
                      <a:pt x="787" y="125"/>
                      <a:pt x="818" y="117"/>
                    </a:cubicBezTo>
                    <a:cubicBezTo>
                      <a:pt x="827" y="114"/>
                      <a:pt x="827" y="111"/>
                      <a:pt x="830" y="108"/>
                    </a:cubicBezTo>
                    <a:cubicBezTo>
                      <a:pt x="834" y="103"/>
                      <a:pt x="840" y="107"/>
                      <a:pt x="844" y="100"/>
                    </a:cubicBezTo>
                    <a:cubicBezTo>
                      <a:pt x="846" y="97"/>
                      <a:pt x="844" y="92"/>
                      <a:pt x="853" y="91"/>
                    </a:cubicBezTo>
                    <a:cubicBezTo>
                      <a:pt x="861" y="89"/>
                      <a:pt x="862" y="81"/>
                      <a:pt x="866" y="77"/>
                    </a:cubicBezTo>
                    <a:cubicBezTo>
                      <a:pt x="876" y="65"/>
                      <a:pt x="875" y="66"/>
                      <a:pt x="884" y="56"/>
                    </a:cubicBezTo>
                    <a:cubicBezTo>
                      <a:pt x="888" y="52"/>
                      <a:pt x="901" y="35"/>
                      <a:pt x="903" y="33"/>
                    </a:cubicBezTo>
                    <a:cubicBezTo>
                      <a:pt x="905" y="29"/>
                      <a:pt x="909" y="16"/>
                      <a:pt x="915" y="9"/>
                    </a:cubicBezTo>
                    <a:cubicBezTo>
                      <a:pt x="921" y="3"/>
                      <a:pt x="916" y="0"/>
                      <a:pt x="910" y="2"/>
                    </a:cubicBezTo>
                    <a:close/>
                    <a:moveTo>
                      <a:pt x="417" y="125"/>
                    </a:moveTo>
                    <a:cubicBezTo>
                      <a:pt x="418" y="125"/>
                      <a:pt x="419" y="125"/>
                      <a:pt x="420" y="124"/>
                    </a:cubicBezTo>
                    <a:cubicBezTo>
                      <a:pt x="422" y="122"/>
                      <a:pt x="425" y="119"/>
                      <a:pt x="425" y="117"/>
                    </a:cubicBezTo>
                    <a:cubicBezTo>
                      <a:pt x="425" y="113"/>
                      <a:pt x="419" y="107"/>
                      <a:pt x="409" y="107"/>
                    </a:cubicBezTo>
                    <a:cubicBezTo>
                      <a:pt x="405" y="106"/>
                      <a:pt x="404" y="107"/>
                      <a:pt x="401" y="109"/>
                    </a:cubicBezTo>
                    <a:cubicBezTo>
                      <a:pt x="398" y="113"/>
                      <a:pt x="401" y="121"/>
                      <a:pt x="402" y="123"/>
                    </a:cubicBezTo>
                    <a:cubicBezTo>
                      <a:pt x="410" y="123"/>
                      <a:pt x="415" y="125"/>
                      <a:pt x="417" y="125"/>
                    </a:cubicBezTo>
                    <a:close/>
                    <a:moveTo>
                      <a:pt x="343" y="106"/>
                    </a:moveTo>
                    <a:cubicBezTo>
                      <a:pt x="343" y="106"/>
                      <a:pt x="347" y="110"/>
                      <a:pt x="356" y="110"/>
                    </a:cubicBezTo>
                    <a:cubicBezTo>
                      <a:pt x="366" y="110"/>
                      <a:pt x="370" y="112"/>
                      <a:pt x="372" y="115"/>
                    </a:cubicBezTo>
                    <a:cubicBezTo>
                      <a:pt x="372" y="134"/>
                      <a:pt x="362" y="147"/>
                      <a:pt x="355" y="147"/>
                    </a:cubicBezTo>
                    <a:cubicBezTo>
                      <a:pt x="353" y="147"/>
                      <a:pt x="352" y="146"/>
                      <a:pt x="353" y="145"/>
                    </a:cubicBezTo>
                    <a:cubicBezTo>
                      <a:pt x="353" y="142"/>
                      <a:pt x="353" y="138"/>
                      <a:pt x="351" y="135"/>
                    </a:cubicBezTo>
                    <a:cubicBezTo>
                      <a:pt x="348" y="131"/>
                      <a:pt x="346" y="128"/>
                      <a:pt x="339" y="125"/>
                    </a:cubicBezTo>
                    <a:cubicBezTo>
                      <a:pt x="338" y="124"/>
                      <a:pt x="335" y="123"/>
                      <a:pt x="335" y="119"/>
                    </a:cubicBezTo>
                    <a:cubicBezTo>
                      <a:pt x="335" y="112"/>
                      <a:pt x="343" y="106"/>
                      <a:pt x="343" y="106"/>
                    </a:cubicBezTo>
                    <a:close/>
                    <a:moveTo>
                      <a:pt x="435" y="213"/>
                    </a:moveTo>
                    <a:cubicBezTo>
                      <a:pt x="437" y="212"/>
                      <a:pt x="437" y="211"/>
                      <a:pt x="435" y="211"/>
                    </a:cubicBezTo>
                    <a:cubicBezTo>
                      <a:pt x="410" y="214"/>
                      <a:pt x="385" y="223"/>
                      <a:pt x="361" y="234"/>
                    </a:cubicBezTo>
                    <a:cubicBezTo>
                      <a:pt x="360" y="232"/>
                      <a:pt x="360" y="231"/>
                      <a:pt x="360" y="227"/>
                    </a:cubicBezTo>
                    <a:cubicBezTo>
                      <a:pt x="360" y="220"/>
                      <a:pt x="361" y="209"/>
                      <a:pt x="369" y="209"/>
                    </a:cubicBezTo>
                    <a:cubicBezTo>
                      <a:pt x="387" y="209"/>
                      <a:pt x="397" y="199"/>
                      <a:pt x="397" y="199"/>
                    </a:cubicBezTo>
                    <a:cubicBezTo>
                      <a:pt x="397" y="199"/>
                      <a:pt x="370" y="195"/>
                      <a:pt x="372" y="183"/>
                    </a:cubicBezTo>
                    <a:cubicBezTo>
                      <a:pt x="373" y="180"/>
                      <a:pt x="375" y="178"/>
                      <a:pt x="378" y="179"/>
                    </a:cubicBezTo>
                    <a:cubicBezTo>
                      <a:pt x="388" y="181"/>
                      <a:pt x="392" y="172"/>
                      <a:pt x="392" y="172"/>
                    </a:cubicBezTo>
                    <a:cubicBezTo>
                      <a:pt x="392" y="172"/>
                      <a:pt x="382" y="170"/>
                      <a:pt x="378" y="167"/>
                    </a:cubicBezTo>
                    <a:cubicBezTo>
                      <a:pt x="377" y="166"/>
                      <a:pt x="376" y="165"/>
                      <a:pt x="377" y="163"/>
                    </a:cubicBezTo>
                    <a:cubicBezTo>
                      <a:pt x="379" y="162"/>
                      <a:pt x="381" y="160"/>
                      <a:pt x="384" y="161"/>
                    </a:cubicBezTo>
                    <a:cubicBezTo>
                      <a:pt x="392" y="163"/>
                      <a:pt x="397" y="164"/>
                      <a:pt x="400" y="164"/>
                    </a:cubicBezTo>
                    <a:cubicBezTo>
                      <a:pt x="402" y="164"/>
                      <a:pt x="403" y="162"/>
                      <a:pt x="401" y="162"/>
                    </a:cubicBezTo>
                    <a:cubicBezTo>
                      <a:pt x="398" y="160"/>
                      <a:pt x="394" y="156"/>
                      <a:pt x="388" y="153"/>
                    </a:cubicBezTo>
                    <a:cubicBezTo>
                      <a:pt x="397" y="148"/>
                      <a:pt x="403" y="140"/>
                      <a:pt x="403" y="140"/>
                    </a:cubicBezTo>
                    <a:cubicBezTo>
                      <a:pt x="403" y="140"/>
                      <a:pt x="400" y="141"/>
                      <a:pt x="396" y="139"/>
                    </a:cubicBezTo>
                    <a:cubicBezTo>
                      <a:pt x="390" y="136"/>
                      <a:pt x="390" y="109"/>
                      <a:pt x="386" y="103"/>
                    </a:cubicBezTo>
                    <a:cubicBezTo>
                      <a:pt x="382" y="96"/>
                      <a:pt x="374" y="90"/>
                      <a:pt x="369" y="88"/>
                    </a:cubicBezTo>
                    <a:cubicBezTo>
                      <a:pt x="362" y="85"/>
                      <a:pt x="356" y="84"/>
                      <a:pt x="353" y="81"/>
                    </a:cubicBezTo>
                    <a:cubicBezTo>
                      <a:pt x="347" y="75"/>
                      <a:pt x="357" y="39"/>
                      <a:pt x="319" y="39"/>
                    </a:cubicBezTo>
                    <a:cubicBezTo>
                      <a:pt x="295" y="39"/>
                      <a:pt x="279" y="58"/>
                      <a:pt x="275" y="77"/>
                    </a:cubicBezTo>
                    <a:cubicBezTo>
                      <a:pt x="274" y="84"/>
                      <a:pt x="275" y="91"/>
                      <a:pt x="275" y="91"/>
                    </a:cubicBezTo>
                    <a:cubicBezTo>
                      <a:pt x="275" y="91"/>
                      <a:pt x="295" y="87"/>
                      <a:pt x="302" y="107"/>
                    </a:cubicBezTo>
                    <a:cubicBezTo>
                      <a:pt x="296" y="101"/>
                      <a:pt x="290" y="98"/>
                      <a:pt x="288" y="98"/>
                    </a:cubicBezTo>
                    <a:cubicBezTo>
                      <a:pt x="281" y="97"/>
                      <a:pt x="276" y="101"/>
                      <a:pt x="275" y="108"/>
                    </a:cubicBezTo>
                    <a:cubicBezTo>
                      <a:pt x="271" y="128"/>
                      <a:pt x="291" y="145"/>
                      <a:pt x="293" y="147"/>
                    </a:cubicBezTo>
                    <a:cubicBezTo>
                      <a:pt x="289" y="187"/>
                      <a:pt x="307" y="212"/>
                      <a:pt x="308" y="244"/>
                    </a:cubicBezTo>
                    <a:cubicBezTo>
                      <a:pt x="309" y="265"/>
                      <a:pt x="295" y="274"/>
                      <a:pt x="292" y="276"/>
                    </a:cubicBezTo>
                    <a:cubicBezTo>
                      <a:pt x="275" y="293"/>
                      <a:pt x="271" y="300"/>
                      <a:pt x="266" y="314"/>
                    </a:cubicBezTo>
                    <a:cubicBezTo>
                      <a:pt x="266" y="303"/>
                      <a:pt x="269" y="289"/>
                      <a:pt x="278" y="272"/>
                    </a:cubicBezTo>
                    <a:cubicBezTo>
                      <a:pt x="279" y="271"/>
                      <a:pt x="279" y="270"/>
                      <a:pt x="277" y="271"/>
                    </a:cubicBezTo>
                    <a:cubicBezTo>
                      <a:pt x="269" y="275"/>
                      <a:pt x="254" y="284"/>
                      <a:pt x="248" y="289"/>
                    </a:cubicBezTo>
                    <a:cubicBezTo>
                      <a:pt x="242" y="296"/>
                      <a:pt x="235" y="302"/>
                      <a:pt x="229" y="309"/>
                    </a:cubicBezTo>
                    <a:cubicBezTo>
                      <a:pt x="220" y="312"/>
                      <a:pt x="205" y="318"/>
                      <a:pt x="186" y="332"/>
                    </a:cubicBezTo>
                    <a:cubicBezTo>
                      <a:pt x="170" y="343"/>
                      <a:pt x="160" y="364"/>
                      <a:pt x="160" y="364"/>
                    </a:cubicBezTo>
                    <a:cubicBezTo>
                      <a:pt x="160" y="364"/>
                      <a:pt x="143" y="363"/>
                      <a:pt x="119" y="365"/>
                    </a:cubicBezTo>
                    <a:cubicBezTo>
                      <a:pt x="67" y="369"/>
                      <a:pt x="0" y="393"/>
                      <a:pt x="0" y="393"/>
                    </a:cubicBezTo>
                    <a:cubicBezTo>
                      <a:pt x="267" y="393"/>
                      <a:pt x="267" y="393"/>
                      <a:pt x="267" y="393"/>
                    </a:cubicBezTo>
                    <a:cubicBezTo>
                      <a:pt x="272" y="323"/>
                      <a:pt x="364" y="236"/>
                      <a:pt x="435" y="213"/>
                    </a:cubicBezTo>
                    <a:close/>
                    <a:moveTo>
                      <a:pt x="756" y="99"/>
                    </a:moveTo>
                    <a:cubicBezTo>
                      <a:pt x="764" y="95"/>
                      <a:pt x="775" y="94"/>
                      <a:pt x="786" y="88"/>
                    </a:cubicBezTo>
                    <a:cubicBezTo>
                      <a:pt x="793" y="85"/>
                      <a:pt x="795" y="84"/>
                      <a:pt x="805" y="78"/>
                    </a:cubicBezTo>
                    <a:cubicBezTo>
                      <a:pt x="806" y="77"/>
                      <a:pt x="806" y="76"/>
                      <a:pt x="804" y="76"/>
                    </a:cubicBezTo>
                    <a:cubicBezTo>
                      <a:pt x="799" y="76"/>
                      <a:pt x="791" y="74"/>
                      <a:pt x="791" y="68"/>
                    </a:cubicBezTo>
                    <a:cubicBezTo>
                      <a:pt x="790" y="62"/>
                      <a:pt x="792" y="55"/>
                      <a:pt x="797" y="49"/>
                    </a:cubicBezTo>
                    <a:cubicBezTo>
                      <a:pt x="800" y="46"/>
                      <a:pt x="807" y="40"/>
                      <a:pt x="807" y="34"/>
                    </a:cubicBezTo>
                    <a:cubicBezTo>
                      <a:pt x="807" y="23"/>
                      <a:pt x="802" y="22"/>
                      <a:pt x="797" y="22"/>
                    </a:cubicBezTo>
                    <a:cubicBezTo>
                      <a:pt x="797" y="32"/>
                      <a:pt x="787" y="41"/>
                      <a:pt x="783" y="45"/>
                    </a:cubicBezTo>
                    <a:cubicBezTo>
                      <a:pt x="771" y="60"/>
                      <a:pt x="759" y="65"/>
                      <a:pt x="758" y="80"/>
                    </a:cubicBezTo>
                    <a:cubicBezTo>
                      <a:pt x="758" y="85"/>
                      <a:pt x="755" y="94"/>
                      <a:pt x="754" y="98"/>
                    </a:cubicBezTo>
                    <a:cubicBezTo>
                      <a:pt x="754" y="100"/>
                      <a:pt x="755" y="100"/>
                      <a:pt x="756" y="99"/>
                    </a:cubicBezTo>
                    <a:close/>
                  </a:path>
                </a:pathLst>
              </a:custGeom>
              <a:blipFill dpi="0" rotWithShape="1">
                <a:blip r:embed="rId2" cstate="print"/>
                <a:srcRect/>
                <a:stretch>
                  <a:fillRect/>
                </a:stretch>
              </a:blip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" name="Group 33"/>
              <p:cNvGrpSpPr>
                <a:grpSpLocks noChangeAspect="1"/>
              </p:cNvGrpSpPr>
              <p:nvPr/>
            </p:nvGrpSpPr>
            <p:grpSpPr bwMode="gray">
              <a:xfrm>
                <a:off x="6102428" y="2323691"/>
                <a:ext cx="1779160" cy="259200"/>
                <a:chOff x="1430338" y="-1666875"/>
                <a:chExt cx="4968876" cy="723900"/>
              </a:xfrm>
              <a:solidFill>
                <a:srgbClr val="005192"/>
              </a:solidFill>
            </p:grpSpPr>
            <p:sp>
              <p:nvSpPr>
                <p:cNvPr id="29" name="Freeform 28"/>
                <p:cNvSpPr>
                  <a:spLocks/>
                </p:cNvSpPr>
                <p:nvPr/>
              </p:nvSpPr>
              <p:spPr bwMode="gray">
                <a:xfrm>
                  <a:off x="2705101" y="-1463675"/>
                  <a:ext cx="447675" cy="509588"/>
                </a:xfrm>
                <a:custGeom>
                  <a:avLst/>
                  <a:gdLst/>
                  <a:ahLst/>
                  <a:cxnLst>
                    <a:cxn ang="0">
                      <a:pos x="2" y="136"/>
                    </a:cxn>
                    <a:cxn ang="0">
                      <a:pos x="104" y="136"/>
                    </a:cxn>
                    <a:cxn ang="0">
                      <a:pos x="119" y="120"/>
                    </a:cxn>
                    <a:cxn ang="0">
                      <a:pos x="119" y="112"/>
                    </a:cxn>
                    <a:cxn ang="0">
                      <a:pos x="93" y="113"/>
                    </a:cxn>
                    <a:cxn ang="0">
                      <a:pos x="59" y="113"/>
                    </a:cxn>
                    <a:cxn ang="0">
                      <a:pos x="118" y="0"/>
                    </a:cxn>
                    <a:cxn ang="0">
                      <a:pos x="2" y="0"/>
                    </a:cxn>
                    <a:cxn ang="0">
                      <a:pos x="2" y="23"/>
                    </a:cxn>
                    <a:cxn ang="0">
                      <a:pos x="54" y="23"/>
                    </a:cxn>
                    <a:cxn ang="0">
                      <a:pos x="5" y="116"/>
                    </a:cxn>
                    <a:cxn ang="0">
                      <a:pos x="2" y="136"/>
                    </a:cxn>
                  </a:cxnLst>
                  <a:rect l="0" t="0" r="r" b="b"/>
                  <a:pathLst>
                    <a:path w="119" h="136">
                      <a:moveTo>
                        <a:pt x="2" y="136"/>
                      </a:moveTo>
                      <a:cubicBezTo>
                        <a:pt x="104" y="136"/>
                        <a:pt x="104" y="136"/>
                        <a:pt x="104" y="136"/>
                      </a:cubicBezTo>
                      <a:cubicBezTo>
                        <a:pt x="113" y="136"/>
                        <a:pt x="119" y="129"/>
                        <a:pt x="119" y="120"/>
                      </a:cubicBezTo>
                      <a:cubicBezTo>
                        <a:pt x="119" y="112"/>
                        <a:pt x="119" y="112"/>
                        <a:pt x="119" y="112"/>
                      </a:cubicBezTo>
                      <a:cubicBezTo>
                        <a:pt x="115" y="113"/>
                        <a:pt x="107" y="113"/>
                        <a:pt x="93" y="113"/>
                      </a:cubicBezTo>
                      <a:cubicBezTo>
                        <a:pt x="59" y="113"/>
                        <a:pt x="59" y="113"/>
                        <a:pt x="59" y="113"/>
                      </a:cubicBezTo>
                      <a:cubicBezTo>
                        <a:pt x="118" y="0"/>
                        <a:pt x="118" y="0"/>
                        <a:pt x="118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23"/>
                        <a:pt x="2" y="23"/>
                        <a:pt x="2" y="23"/>
                      </a:cubicBezTo>
                      <a:cubicBezTo>
                        <a:pt x="54" y="23"/>
                        <a:pt x="54" y="23"/>
                        <a:pt x="54" y="23"/>
                      </a:cubicBezTo>
                      <a:cubicBezTo>
                        <a:pt x="5" y="116"/>
                        <a:pt x="5" y="116"/>
                        <a:pt x="5" y="116"/>
                      </a:cubicBezTo>
                      <a:cubicBezTo>
                        <a:pt x="1" y="124"/>
                        <a:pt x="0" y="131"/>
                        <a:pt x="2" y="136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" name="Freeform 25"/>
                <p:cNvSpPr>
                  <a:spLocks/>
                </p:cNvSpPr>
                <p:nvPr/>
              </p:nvSpPr>
              <p:spPr bwMode="gray">
                <a:xfrm>
                  <a:off x="2327276" y="-1463675"/>
                  <a:ext cx="344488" cy="509588"/>
                </a:xfrm>
                <a:custGeom>
                  <a:avLst/>
                  <a:gdLst/>
                  <a:ahLst/>
                  <a:cxnLst>
                    <a:cxn ang="0">
                      <a:pos x="0" y="64"/>
                    </a:cxn>
                    <a:cxn ang="0">
                      <a:pos x="27" y="115"/>
                    </a:cxn>
                    <a:cxn ang="0">
                      <a:pos x="54" y="136"/>
                    </a:cxn>
                    <a:cxn ang="0">
                      <a:pos x="92" y="136"/>
                    </a:cxn>
                    <a:cxn ang="0">
                      <a:pos x="84" y="124"/>
                    </a:cxn>
                    <a:cxn ang="0">
                      <a:pos x="46" y="53"/>
                    </a:cxn>
                    <a:cxn ang="0">
                      <a:pos x="91" y="0"/>
                    </a:cxn>
                    <a:cxn ang="0">
                      <a:pos x="50" y="0"/>
                    </a:cxn>
                    <a:cxn ang="0">
                      <a:pos x="0" y="64"/>
                    </a:cxn>
                  </a:cxnLst>
                  <a:rect l="0" t="0" r="r" b="b"/>
                  <a:pathLst>
                    <a:path w="92" h="136">
                      <a:moveTo>
                        <a:pt x="0" y="64"/>
                      </a:moveTo>
                      <a:cubicBezTo>
                        <a:pt x="27" y="115"/>
                        <a:pt x="27" y="115"/>
                        <a:pt x="27" y="115"/>
                      </a:cubicBezTo>
                      <a:cubicBezTo>
                        <a:pt x="34" y="130"/>
                        <a:pt x="38" y="136"/>
                        <a:pt x="54" y="136"/>
                      </a:cubicBezTo>
                      <a:cubicBezTo>
                        <a:pt x="92" y="136"/>
                        <a:pt x="92" y="136"/>
                        <a:pt x="92" y="136"/>
                      </a:cubicBezTo>
                      <a:cubicBezTo>
                        <a:pt x="90" y="134"/>
                        <a:pt x="88" y="131"/>
                        <a:pt x="84" y="124"/>
                      </a:cubicBezTo>
                      <a:cubicBezTo>
                        <a:pt x="46" y="53"/>
                        <a:pt x="46" y="53"/>
                        <a:pt x="46" y="53"/>
                      </a:cubicBezTo>
                      <a:cubicBezTo>
                        <a:pt x="91" y="0"/>
                        <a:pt x="91" y="0"/>
                        <a:pt x="91" y="0"/>
                      </a:cubicBez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0" y="64"/>
                        <a:pt x="0" y="64"/>
                        <a:pt x="0" y="6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" name="Freeform 26"/>
                <p:cNvSpPr>
                  <a:spLocks/>
                </p:cNvSpPr>
                <p:nvPr/>
              </p:nvSpPr>
              <p:spPr bwMode="gray">
                <a:xfrm>
                  <a:off x="2143126" y="-1666875"/>
                  <a:ext cx="173038" cy="712788"/>
                </a:xfrm>
                <a:custGeom>
                  <a:avLst/>
                  <a:gdLst/>
                  <a:ahLst/>
                  <a:cxnLst>
                    <a:cxn ang="0">
                      <a:pos x="0" y="190"/>
                    </a:cxn>
                    <a:cxn ang="0">
                      <a:pos x="46" y="190"/>
                    </a:cxn>
                    <a:cxn ang="0">
                      <a:pos x="46" y="28"/>
                    </a:cxn>
                    <a:cxn ang="0">
                      <a:pos x="17" y="0"/>
                    </a:cxn>
                    <a:cxn ang="0">
                      <a:pos x="0" y="0"/>
                    </a:cxn>
                    <a:cxn ang="0">
                      <a:pos x="0" y="190"/>
                    </a:cxn>
                  </a:cxnLst>
                  <a:rect l="0" t="0" r="r" b="b"/>
                  <a:pathLst>
                    <a:path w="46" h="190">
                      <a:moveTo>
                        <a:pt x="0" y="190"/>
                      </a:moveTo>
                      <a:cubicBezTo>
                        <a:pt x="46" y="190"/>
                        <a:pt x="46" y="190"/>
                        <a:pt x="46" y="190"/>
                      </a:cubicBezTo>
                      <a:cubicBezTo>
                        <a:pt x="46" y="28"/>
                        <a:pt x="46" y="28"/>
                        <a:pt x="46" y="28"/>
                      </a:cubicBezTo>
                      <a:cubicBezTo>
                        <a:pt x="46" y="11"/>
                        <a:pt x="34" y="0"/>
                        <a:pt x="1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90"/>
                        <a:pt x="0" y="190"/>
                        <a:pt x="0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" name="Freeform 27"/>
                <p:cNvSpPr>
                  <a:spLocks noEditPoints="1"/>
                </p:cNvSpPr>
                <p:nvPr/>
              </p:nvSpPr>
              <p:spPr bwMode="gray">
                <a:xfrm>
                  <a:off x="1430338" y="-1614488"/>
                  <a:ext cx="652463" cy="660400"/>
                </a:xfrm>
                <a:custGeom>
                  <a:avLst/>
                  <a:gdLst/>
                  <a:ahLst/>
                  <a:cxnLst>
                    <a:cxn ang="0">
                      <a:pos x="52" y="111"/>
                    </a:cxn>
                    <a:cxn ang="0">
                      <a:pos x="77" y="37"/>
                    </a:cxn>
                    <a:cxn ang="0">
                      <a:pos x="100" y="111"/>
                    </a:cxn>
                    <a:cxn ang="0">
                      <a:pos x="52" y="111"/>
                    </a:cxn>
                    <a:cxn ang="0">
                      <a:pos x="169" y="164"/>
                    </a:cxn>
                    <a:cxn ang="0">
                      <a:pos x="122" y="24"/>
                    </a:cxn>
                    <a:cxn ang="0">
                      <a:pos x="87" y="0"/>
                    </a:cxn>
                    <a:cxn ang="0">
                      <a:pos x="65" y="0"/>
                    </a:cxn>
                    <a:cxn ang="0">
                      <a:pos x="0" y="176"/>
                    </a:cxn>
                    <a:cxn ang="0">
                      <a:pos x="29" y="176"/>
                    </a:cxn>
                    <a:cxn ang="0">
                      <a:pos x="44" y="133"/>
                    </a:cxn>
                    <a:cxn ang="0">
                      <a:pos x="107" y="133"/>
                    </a:cxn>
                    <a:cxn ang="0">
                      <a:pos x="116" y="161"/>
                    </a:cxn>
                    <a:cxn ang="0">
                      <a:pos x="135" y="176"/>
                    </a:cxn>
                    <a:cxn ang="0">
                      <a:pos x="174" y="176"/>
                    </a:cxn>
                    <a:cxn ang="0">
                      <a:pos x="169" y="164"/>
                    </a:cxn>
                  </a:cxnLst>
                  <a:rect l="0" t="0" r="r" b="b"/>
                  <a:pathLst>
                    <a:path w="174" h="176">
                      <a:moveTo>
                        <a:pt x="52" y="111"/>
                      </a:moveTo>
                      <a:cubicBezTo>
                        <a:pt x="77" y="37"/>
                        <a:pt x="77" y="37"/>
                        <a:pt x="77" y="37"/>
                      </a:cubicBezTo>
                      <a:cubicBezTo>
                        <a:pt x="100" y="111"/>
                        <a:pt x="100" y="111"/>
                        <a:pt x="100" y="111"/>
                      </a:cubicBezTo>
                      <a:cubicBezTo>
                        <a:pt x="52" y="111"/>
                        <a:pt x="52" y="111"/>
                        <a:pt x="52" y="111"/>
                      </a:cubicBezTo>
                      <a:close/>
                      <a:moveTo>
                        <a:pt x="169" y="164"/>
                      </a:moveTo>
                      <a:cubicBezTo>
                        <a:pt x="122" y="24"/>
                        <a:pt x="122" y="24"/>
                        <a:pt x="122" y="24"/>
                      </a:cubicBezTo>
                      <a:cubicBezTo>
                        <a:pt x="116" y="8"/>
                        <a:pt x="110" y="0"/>
                        <a:pt x="87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0" y="176"/>
                        <a:pt x="0" y="176"/>
                        <a:pt x="0" y="176"/>
                      </a:cubicBezTo>
                      <a:cubicBezTo>
                        <a:pt x="29" y="176"/>
                        <a:pt x="29" y="176"/>
                        <a:pt x="29" y="176"/>
                      </a:cubicBezTo>
                      <a:cubicBezTo>
                        <a:pt x="44" y="133"/>
                        <a:pt x="44" y="133"/>
                        <a:pt x="44" y="133"/>
                      </a:cubicBezTo>
                      <a:cubicBezTo>
                        <a:pt x="107" y="133"/>
                        <a:pt x="107" y="133"/>
                        <a:pt x="107" y="133"/>
                      </a:cubicBezTo>
                      <a:cubicBezTo>
                        <a:pt x="116" y="161"/>
                        <a:pt x="116" y="161"/>
                        <a:pt x="116" y="161"/>
                      </a:cubicBezTo>
                      <a:cubicBezTo>
                        <a:pt x="120" y="171"/>
                        <a:pt x="124" y="176"/>
                        <a:pt x="135" y="176"/>
                      </a:cubicBezTo>
                      <a:cubicBezTo>
                        <a:pt x="174" y="176"/>
                        <a:pt x="174" y="176"/>
                        <a:pt x="174" y="176"/>
                      </a:cubicBezTo>
                      <a:cubicBezTo>
                        <a:pt x="173" y="174"/>
                        <a:pt x="171" y="171"/>
                        <a:pt x="169" y="16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" name="Freeform 28"/>
                <p:cNvSpPr>
                  <a:spLocks noEditPoints="1"/>
                </p:cNvSpPr>
                <p:nvPr/>
              </p:nvSpPr>
              <p:spPr bwMode="gray">
                <a:xfrm>
                  <a:off x="3181351" y="-1474788"/>
                  <a:ext cx="541338" cy="531813"/>
                </a:xfrm>
                <a:custGeom>
                  <a:avLst/>
                  <a:gdLst/>
                  <a:ahLst/>
                  <a:cxnLst>
                    <a:cxn ang="0">
                      <a:pos x="72" y="117"/>
                    </a:cxn>
                    <a:cxn ang="0">
                      <a:pos x="51" y="70"/>
                    </a:cxn>
                    <a:cxn ang="0">
                      <a:pos x="72" y="24"/>
                    </a:cxn>
                    <a:cxn ang="0">
                      <a:pos x="93" y="73"/>
                    </a:cxn>
                    <a:cxn ang="0">
                      <a:pos x="72" y="117"/>
                    </a:cxn>
                    <a:cxn ang="0">
                      <a:pos x="72" y="142"/>
                    </a:cxn>
                    <a:cxn ang="0">
                      <a:pos x="144" y="68"/>
                    </a:cxn>
                    <a:cxn ang="0">
                      <a:pos x="73" y="0"/>
                    </a:cxn>
                    <a:cxn ang="0">
                      <a:pos x="0" y="75"/>
                    </a:cxn>
                    <a:cxn ang="0">
                      <a:pos x="72" y="142"/>
                    </a:cxn>
                  </a:cxnLst>
                  <a:rect l="0" t="0" r="r" b="b"/>
                  <a:pathLst>
                    <a:path w="144" h="142">
                      <a:moveTo>
                        <a:pt x="72" y="117"/>
                      </a:moveTo>
                      <a:cubicBezTo>
                        <a:pt x="56" y="117"/>
                        <a:pt x="51" y="99"/>
                        <a:pt x="51" y="70"/>
                      </a:cubicBezTo>
                      <a:cubicBezTo>
                        <a:pt x="51" y="43"/>
                        <a:pt x="56" y="24"/>
                        <a:pt x="72" y="24"/>
                      </a:cubicBezTo>
                      <a:cubicBezTo>
                        <a:pt x="88" y="24"/>
                        <a:pt x="93" y="44"/>
                        <a:pt x="93" y="73"/>
                      </a:cubicBezTo>
                      <a:cubicBezTo>
                        <a:pt x="93" y="100"/>
                        <a:pt x="88" y="117"/>
                        <a:pt x="72" y="117"/>
                      </a:cubicBezTo>
                      <a:moveTo>
                        <a:pt x="72" y="142"/>
                      </a:moveTo>
                      <a:cubicBezTo>
                        <a:pt x="111" y="142"/>
                        <a:pt x="144" y="114"/>
                        <a:pt x="144" y="68"/>
                      </a:cubicBezTo>
                      <a:cubicBezTo>
                        <a:pt x="144" y="29"/>
                        <a:pt x="112" y="0"/>
                        <a:pt x="73" y="0"/>
                      </a:cubicBezTo>
                      <a:cubicBezTo>
                        <a:pt x="33" y="0"/>
                        <a:pt x="0" y="28"/>
                        <a:pt x="0" y="75"/>
                      </a:cubicBezTo>
                      <a:cubicBezTo>
                        <a:pt x="0" y="115"/>
                        <a:pt x="33" y="142"/>
                        <a:pt x="72" y="14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" name="Freeform 29"/>
                <p:cNvSpPr>
                  <a:spLocks/>
                </p:cNvSpPr>
                <p:nvPr/>
              </p:nvSpPr>
              <p:spPr bwMode="gray">
                <a:xfrm>
                  <a:off x="3800476" y="-1617663"/>
                  <a:ext cx="577850" cy="663575"/>
                </a:xfrm>
                <a:custGeom>
                  <a:avLst/>
                  <a:gdLst/>
                  <a:ahLst/>
                  <a:cxnLst>
                    <a:cxn ang="0">
                      <a:pos x="0" y="177"/>
                    </a:cxn>
                    <a:cxn ang="0">
                      <a:pos x="30" y="177"/>
                    </a:cxn>
                    <a:cxn ang="0">
                      <a:pos x="30" y="65"/>
                    </a:cxn>
                    <a:cxn ang="0">
                      <a:pos x="104" y="154"/>
                    </a:cxn>
                    <a:cxn ang="0">
                      <a:pos x="133" y="177"/>
                    </a:cxn>
                    <a:cxn ang="0">
                      <a:pos x="154" y="177"/>
                    </a:cxn>
                    <a:cxn ang="0">
                      <a:pos x="154" y="16"/>
                    </a:cxn>
                    <a:cxn ang="0">
                      <a:pos x="138" y="0"/>
                    </a:cxn>
                    <a:cxn ang="0">
                      <a:pos x="125" y="0"/>
                    </a:cxn>
                    <a:cxn ang="0">
                      <a:pos x="125" y="107"/>
                    </a:cxn>
                    <a:cxn ang="0">
                      <a:pos x="54" y="21"/>
                    </a:cxn>
                    <a:cxn ang="0">
                      <a:pos x="22" y="0"/>
                    </a:cxn>
                    <a:cxn ang="0">
                      <a:pos x="0" y="0"/>
                    </a:cxn>
                    <a:cxn ang="0">
                      <a:pos x="0" y="177"/>
                    </a:cxn>
                  </a:cxnLst>
                  <a:rect l="0" t="0" r="r" b="b"/>
                  <a:pathLst>
                    <a:path w="154" h="177">
                      <a:moveTo>
                        <a:pt x="0" y="177"/>
                      </a:moveTo>
                      <a:cubicBezTo>
                        <a:pt x="30" y="177"/>
                        <a:pt x="30" y="177"/>
                        <a:pt x="30" y="177"/>
                      </a:cubicBezTo>
                      <a:cubicBezTo>
                        <a:pt x="30" y="65"/>
                        <a:pt x="30" y="65"/>
                        <a:pt x="30" y="65"/>
                      </a:cubicBezTo>
                      <a:cubicBezTo>
                        <a:pt x="104" y="154"/>
                        <a:pt x="104" y="154"/>
                        <a:pt x="104" y="154"/>
                      </a:cubicBezTo>
                      <a:cubicBezTo>
                        <a:pt x="115" y="167"/>
                        <a:pt x="122" y="177"/>
                        <a:pt x="133" y="177"/>
                      </a:cubicBezTo>
                      <a:cubicBezTo>
                        <a:pt x="154" y="177"/>
                        <a:pt x="154" y="177"/>
                        <a:pt x="154" y="177"/>
                      </a:cubicBezTo>
                      <a:cubicBezTo>
                        <a:pt x="154" y="16"/>
                        <a:pt x="154" y="16"/>
                        <a:pt x="154" y="16"/>
                      </a:cubicBezTo>
                      <a:cubicBezTo>
                        <a:pt x="154" y="6"/>
                        <a:pt x="148" y="0"/>
                        <a:pt x="138" y="0"/>
                      </a:cubicBezTo>
                      <a:cubicBezTo>
                        <a:pt x="125" y="0"/>
                        <a:pt x="125" y="0"/>
                        <a:pt x="125" y="0"/>
                      </a:cubicBezTo>
                      <a:cubicBezTo>
                        <a:pt x="125" y="107"/>
                        <a:pt x="125" y="107"/>
                        <a:pt x="125" y="107"/>
                      </a:cubicBezTo>
                      <a:cubicBezTo>
                        <a:pt x="54" y="21"/>
                        <a:pt x="54" y="21"/>
                        <a:pt x="54" y="21"/>
                      </a:cubicBezTo>
                      <a:cubicBezTo>
                        <a:pt x="43" y="8"/>
                        <a:pt x="37" y="0"/>
                        <a:pt x="2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77"/>
                        <a:pt x="0" y="177"/>
                        <a:pt x="0" y="17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" name="Freeform 30"/>
                <p:cNvSpPr>
                  <a:spLocks noEditPoints="1"/>
                </p:cNvSpPr>
                <p:nvPr/>
              </p:nvSpPr>
              <p:spPr bwMode="gray">
                <a:xfrm>
                  <a:off x="4456113" y="-1474788"/>
                  <a:ext cx="536575" cy="531813"/>
                </a:xfrm>
                <a:custGeom>
                  <a:avLst/>
                  <a:gdLst/>
                  <a:ahLst/>
                  <a:cxnLst>
                    <a:cxn ang="0">
                      <a:pos x="72" y="117"/>
                    </a:cxn>
                    <a:cxn ang="0">
                      <a:pos x="50" y="70"/>
                    </a:cxn>
                    <a:cxn ang="0">
                      <a:pos x="72" y="24"/>
                    </a:cxn>
                    <a:cxn ang="0">
                      <a:pos x="93" y="73"/>
                    </a:cxn>
                    <a:cxn ang="0">
                      <a:pos x="72" y="117"/>
                    </a:cxn>
                    <a:cxn ang="0">
                      <a:pos x="71" y="142"/>
                    </a:cxn>
                    <a:cxn ang="0">
                      <a:pos x="143" y="68"/>
                    </a:cxn>
                    <a:cxn ang="0">
                      <a:pos x="72" y="0"/>
                    </a:cxn>
                    <a:cxn ang="0">
                      <a:pos x="0" y="75"/>
                    </a:cxn>
                    <a:cxn ang="0">
                      <a:pos x="71" y="142"/>
                    </a:cxn>
                  </a:cxnLst>
                  <a:rect l="0" t="0" r="r" b="b"/>
                  <a:pathLst>
                    <a:path w="143" h="142">
                      <a:moveTo>
                        <a:pt x="72" y="117"/>
                      </a:moveTo>
                      <a:cubicBezTo>
                        <a:pt x="56" y="117"/>
                        <a:pt x="50" y="99"/>
                        <a:pt x="50" y="70"/>
                      </a:cubicBezTo>
                      <a:cubicBezTo>
                        <a:pt x="50" y="43"/>
                        <a:pt x="56" y="24"/>
                        <a:pt x="72" y="24"/>
                      </a:cubicBezTo>
                      <a:cubicBezTo>
                        <a:pt x="88" y="24"/>
                        <a:pt x="93" y="44"/>
                        <a:pt x="93" y="73"/>
                      </a:cubicBezTo>
                      <a:cubicBezTo>
                        <a:pt x="93" y="100"/>
                        <a:pt x="88" y="117"/>
                        <a:pt x="72" y="117"/>
                      </a:cubicBezTo>
                      <a:moveTo>
                        <a:pt x="71" y="142"/>
                      </a:moveTo>
                      <a:cubicBezTo>
                        <a:pt x="110" y="142"/>
                        <a:pt x="143" y="114"/>
                        <a:pt x="143" y="68"/>
                      </a:cubicBezTo>
                      <a:cubicBezTo>
                        <a:pt x="143" y="29"/>
                        <a:pt x="112" y="0"/>
                        <a:pt x="72" y="0"/>
                      </a:cubicBezTo>
                      <a:cubicBezTo>
                        <a:pt x="32" y="0"/>
                        <a:pt x="0" y="28"/>
                        <a:pt x="0" y="75"/>
                      </a:cubicBezTo>
                      <a:cubicBezTo>
                        <a:pt x="0" y="115"/>
                        <a:pt x="32" y="142"/>
                        <a:pt x="71" y="14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" name="Freeform 31"/>
                <p:cNvSpPr>
                  <a:spLocks noEditPoints="1"/>
                </p:cNvSpPr>
                <p:nvPr/>
              </p:nvSpPr>
              <p:spPr bwMode="gray">
                <a:xfrm>
                  <a:off x="5645151" y="-1474788"/>
                  <a:ext cx="506413" cy="531813"/>
                </a:xfrm>
                <a:custGeom>
                  <a:avLst/>
                  <a:gdLst/>
                  <a:ahLst/>
                  <a:cxnLst>
                    <a:cxn ang="0">
                      <a:pos x="47" y="55"/>
                    </a:cxn>
                    <a:cxn ang="0">
                      <a:pos x="69" y="22"/>
                    </a:cxn>
                    <a:cxn ang="0">
                      <a:pos x="91" y="55"/>
                    </a:cxn>
                    <a:cxn ang="0">
                      <a:pos x="47" y="55"/>
                    </a:cxn>
                    <a:cxn ang="0">
                      <a:pos x="134" y="74"/>
                    </a:cxn>
                    <a:cxn ang="0">
                      <a:pos x="135" y="58"/>
                    </a:cxn>
                    <a:cxn ang="0">
                      <a:pos x="70" y="0"/>
                    </a:cxn>
                    <a:cxn ang="0">
                      <a:pos x="0" y="71"/>
                    </a:cxn>
                    <a:cxn ang="0">
                      <a:pos x="68" y="142"/>
                    </a:cxn>
                    <a:cxn ang="0">
                      <a:pos x="127" y="99"/>
                    </a:cxn>
                    <a:cxn ang="0">
                      <a:pos x="88" y="109"/>
                    </a:cxn>
                    <a:cxn ang="0">
                      <a:pos x="47" y="74"/>
                    </a:cxn>
                    <a:cxn ang="0">
                      <a:pos x="134" y="74"/>
                    </a:cxn>
                  </a:cxnLst>
                  <a:rect l="0" t="0" r="r" b="b"/>
                  <a:pathLst>
                    <a:path w="135" h="142">
                      <a:moveTo>
                        <a:pt x="47" y="55"/>
                      </a:moveTo>
                      <a:cubicBezTo>
                        <a:pt x="48" y="35"/>
                        <a:pt x="56" y="22"/>
                        <a:pt x="69" y="22"/>
                      </a:cubicBezTo>
                      <a:cubicBezTo>
                        <a:pt x="88" y="22"/>
                        <a:pt x="91" y="55"/>
                        <a:pt x="91" y="55"/>
                      </a:cubicBezTo>
                      <a:cubicBezTo>
                        <a:pt x="47" y="55"/>
                        <a:pt x="47" y="55"/>
                        <a:pt x="47" y="55"/>
                      </a:cubicBezTo>
                      <a:close/>
                      <a:moveTo>
                        <a:pt x="134" y="74"/>
                      </a:moveTo>
                      <a:cubicBezTo>
                        <a:pt x="135" y="68"/>
                        <a:pt x="135" y="63"/>
                        <a:pt x="135" y="58"/>
                      </a:cubicBezTo>
                      <a:cubicBezTo>
                        <a:pt x="135" y="26"/>
                        <a:pt x="111" y="0"/>
                        <a:pt x="70" y="0"/>
                      </a:cubicBezTo>
                      <a:cubicBezTo>
                        <a:pt x="29" y="0"/>
                        <a:pt x="0" y="28"/>
                        <a:pt x="0" y="71"/>
                      </a:cubicBezTo>
                      <a:cubicBezTo>
                        <a:pt x="0" y="113"/>
                        <a:pt x="26" y="142"/>
                        <a:pt x="68" y="142"/>
                      </a:cubicBezTo>
                      <a:cubicBezTo>
                        <a:pt x="111" y="142"/>
                        <a:pt x="126" y="120"/>
                        <a:pt x="127" y="99"/>
                      </a:cubicBezTo>
                      <a:cubicBezTo>
                        <a:pt x="118" y="105"/>
                        <a:pt x="104" y="109"/>
                        <a:pt x="88" y="109"/>
                      </a:cubicBezTo>
                      <a:cubicBezTo>
                        <a:pt x="65" y="109"/>
                        <a:pt x="49" y="96"/>
                        <a:pt x="47" y="74"/>
                      </a:cubicBezTo>
                      <a:cubicBezTo>
                        <a:pt x="134" y="74"/>
                        <a:pt x="134" y="74"/>
                        <a:pt x="134" y="7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" name="Freeform 32"/>
                <p:cNvSpPr>
                  <a:spLocks noEditPoints="1"/>
                </p:cNvSpPr>
                <p:nvPr/>
              </p:nvSpPr>
              <p:spPr bwMode="gray">
                <a:xfrm>
                  <a:off x="5072063" y="-1666875"/>
                  <a:ext cx="509588" cy="712788"/>
                </a:xfrm>
                <a:custGeom>
                  <a:avLst/>
                  <a:gdLst/>
                  <a:ahLst/>
                  <a:cxnLst>
                    <a:cxn ang="0">
                      <a:pos x="54" y="167"/>
                    </a:cxn>
                    <a:cxn ang="0">
                      <a:pos x="46" y="167"/>
                    </a:cxn>
                    <a:cxn ang="0">
                      <a:pos x="46" y="80"/>
                    </a:cxn>
                    <a:cxn ang="0">
                      <a:pos x="57" y="79"/>
                    </a:cxn>
                    <a:cxn ang="0">
                      <a:pos x="88" y="117"/>
                    </a:cxn>
                    <a:cxn ang="0">
                      <a:pos x="54" y="167"/>
                    </a:cxn>
                    <a:cxn ang="0">
                      <a:pos x="82" y="52"/>
                    </a:cxn>
                    <a:cxn ang="0">
                      <a:pos x="46" y="65"/>
                    </a:cxn>
                    <a:cxn ang="0">
                      <a:pos x="46" y="28"/>
                    </a:cxn>
                    <a:cxn ang="0">
                      <a:pos x="17" y="0"/>
                    </a:cxn>
                    <a:cxn ang="0">
                      <a:pos x="0" y="0"/>
                    </a:cxn>
                    <a:cxn ang="0">
                      <a:pos x="0" y="190"/>
                    </a:cxn>
                    <a:cxn ang="0">
                      <a:pos x="55" y="190"/>
                    </a:cxn>
                    <a:cxn ang="0">
                      <a:pos x="136" y="112"/>
                    </a:cxn>
                    <a:cxn ang="0">
                      <a:pos x="82" y="52"/>
                    </a:cxn>
                  </a:cxnLst>
                  <a:rect l="0" t="0" r="r" b="b"/>
                  <a:pathLst>
                    <a:path w="136" h="190">
                      <a:moveTo>
                        <a:pt x="54" y="167"/>
                      </a:moveTo>
                      <a:cubicBezTo>
                        <a:pt x="46" y="167"/>
                        <a:pt x="46" y="167"/>
                        <a:pt x="46" y="167"/>
                      </a:cubicBezTo>
                      <a:cubicBezTo>
                        <a:pt x="46" y="80"/>
                        <a:pt x="46" y="80"/>
                        <a:pt x="46" y="80"/>
                      </a:cubicBezTo>
                      <a:cubicBezTo>
                        <a:pt x="49" y="79"/>
                        <a:pt x="52" y="79"/>
                        <a:pt x="57" y="79"/>
                      </a:cubicBezTo>
                      <a:cubicBezTo>
                        <a:pt x="74" y="79"/>
                        <a:pt x="88" y="95"/>
                        <a:pt x="88" y="117"/>
                      </a:cubicBezTo>
                      <a:cubicBezTo>
                        <a:pt x="88" y="150"/>
                        <a:pt x="76" y="167"/>
                        <a:pt x="54" y="167"/>
                      </a:cubicBezTo>
                      <a:close/>
                      <a:moveTo>
                        <a:pt x="82" y="52"/>
                      </a:moveTo>
                      <a:cubicBezTo>
                        <a:pt x="66" y="52"/>
                        <a:pt x="53" y="58"/>
                        <a:pt x="46" y="65"/>
                      </a:cubicBezTo>
                      <a:cubicBezTo>
                        <a:pt x="46" y="28"/>
                        <a:pt x="46" y="28"/>
                        <a:pt x="46" y="28"/>
                      </a:cubicBezTo>
                      <a:cubicBezTo>
                        <a:pt x="46" y="11"/>
                        <a:pt x="34" y="0"/>
                        <a:pt x="1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90"/>
                        <a:pt x="0" y="190"/>
                        <a:pt x="0" y="190"/>
                      </a:cubicBezTo>
                      <a:cubicBezTo>
                        <a:pt x="55" y="190"/>
                        <a:pt x="55" y="190"/>
                        <a:pt x="55" y="190"/>
                      </a:cubicBezTo>
                      <a:cubicBezTo>
                        <a:pt x="107" y="190"/>
                        <a:pt x="136" y="163"/>
                        <a:pt x="136" y="112"/>
                      </a:cubicBezTo>
                      <a:cubicBezTo>
                        <a:pt x="136" y="78"/>
                        <a:pt x="113" y="52"/>
                        <a:pt x="82" y="5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" name="Freeform 33"/>
                <p:cNvSpPr>
                  <a:spLocks/>
                </p:cNvSpPr>
                <p:nvPr/>
              </p:nvSpPr>
              <p:spPr bwMode="gray">
                <a:xfrm>
                  <a:off x="6223001" y="-1666875"/>
                  <a:ext cx="176213" cy="712788"/>
                </a:xfrm>
                <a:custGeom>
                  <a:avLst/>
                  <a:gdLst/>
                  <a:ahLst/>
                  <a:cxnLst>
                    <a:cxn ang="0">
                      <a:pos x="0" y="190"/>
                    </a:cxn>
                    <a:cxn ang="0">
                      <a:pos x="47" y="190"/>
                    </a:cxn>
                    <a:cxn ang="0">
                      <a:pos x="47" y="28"/>
                    </a:cxn>
                    <a:cxn ang="0">
                      <a:pos x="18" y="0"/>
                    </a:cxn>
                    <a:cxn ang="0">
                      <a:pos x="0" y="0"/>
                    </a:cxn>
                    <a:cxn ang="0">
                      <a:pos x="0" y="190"/>
                    </a:cxn>
                  </a:cxnLst>
                  <a:rect l="0" t="0" r="r" b="b"/>
                  <a:pathLst>
                    <a:path w="47" h="190">
                      <a:moveTo>
                        <a:pt x="0" y="190"/>
                      </a:moveTo>
                      <a:cubicBezTo>
                        <a:pt x="47" y="190"/>
                        <a:pt x="47" y="190"/>
                        <a:pt x="47" y="190"/>
                      </a:cubicBezTo>
                      <a:cubicBezTo>
                        <a:pt x="47" y="28"/>
                        <a:pt x="47" y="28"/>
                        <a:pt x="47" y="28"/>
                      </a:cubicBezTo>
                      <a:cubicBezTo>
                        <a:pt x="47" y="11"/>
                        <a:pt x="35" y="0"/>
                        <a:pt x="1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90"/>
                        <a:pt x="0" y="190"/>
                        <a:pt x="0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</p:grpSp>
        </p:grpSp>
        <p:sp>
          <p:nvSpPr>
            <p:cNvPr id="39" name="Rectangle 38"/>
            <p:cNvSpPr/>
            <p:nvPr/>
          </p:nvSpPr>
          <p:spPr bwMode="gray">
            <a:xfrm>
              <a:off x="2087598" y="1778925"/>
              <a:ext cx="7056402" cy="12717"/>
            </a:xfrm>
            <a:prstGeom prst="rect">
              <a:avLst/>
            </a:prstGeom>
            <a:solidFill>
              <a:srgbClr val="005095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9999" y="4051119"/>
            <a:ext cx="7092000" cy="1378839"/>
          </a:xfrm>
          <a:noFill/>
        </p:spPr>
        <p:txBody>
          <a:bodyPr wrap="square" lIns="0" tIns="0" rIns="0" bIns="0" rtlCol="0" anchor="b" anchorCtr="0">
            <a:spAutoFit/>
          </a:bodyPr>
          <a:lstStyle>
            <a:lvl1pPr marL="0" algn="l" defTabSz="1219170" rtl="0" eaLnBrk="1" latinLnBrk="0" hangingPunct="1">
              <a:lnSpc>
                <a:spcPct val="80000"/>
              </a:lnSpc>
              <a:spcBef>
                <a:spcPts val="0"/>
              </a:spcBef>
              <a:defRPr lang="en-GB" sz="5600" b="1" ker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9999" y="5467033"/>
            <a:ext cx="7092000" cy="648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131882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Image">
    <p:bg bwMode="gray">
      <p:bgPr>
        <a:gradFill>
          <a:gsLst>
            <a:gs pos="10000">
              <a:srgbClr val="E4312C"/>
            </a:gs>
            <a:gs pos="90000">
              <a:srgbClr val="F18E0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/>
          <p:cNvSpPr/>
          <p:nvPr/>
        </p:nvSpPr>
        <p:spPr bwMode="gray">
          <a:xfrm>
            <a:off x="0" y="-1"/>
            <a:ext cx="9144000" cy="2820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60000" y="441663"/>
            <a:ext cx="7128000" cy="1080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algn="l" defTabSz="1219170" rtl="0" eaLnBrk="1" latinLnBrk="0" hangingPunct="1">
              <a:lnSpc>
                <a:spcPct val="80000"/>
              </a:lnSpc>
              <a:spcBef>
                <a:spcPts val="0"/>
              </a:spcBef>
              <a:defRPr lang="en-GB" sz="40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0001" y="1588923"/>
            <a:ext cx="4500000" cy="648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20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subtitle style</a:t>
            </a:r>
            <a:endParaRPr lang="en-GB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0"/>
          </p:nvPr>
        </p:nvSpPr>
        <p:spPr bwMode="gray">
          <a:xfrm>
            <a:off x="0" y="2820478"/>
            <a:ext cx="9144000" cy="403752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 bwMode="gray">
          <a:xfrm>
            <a:off x="0" y="1689100"/>
            <a:ext cx="9144000" cy="699756"/>
            <a:chOff x="2087597" y="1250423"/>
            <a:chExt cx="7056403" cy="541219"/>
          </a:xfrm>
        </p:grpSpPr>
        <p:grpSp>
          <p:nvGrpSpPr>
            <p:cNvPr id="23" name="Group 22"/>
            <p:cNvGrpSpPr/>
            <p:nvPr/>
          </p:nvGrpSpPr>
          <p:grpSpPr bwMode="gray">
            <a:xfrm>
              <a:off x="6065072" y="1250423"/>
              <a:ext cx="2851590" cy="534134"/>
              <a:chOff x="6082760" y="2229099"/>
              <a:chExt cx="2851590" cy="534134"/>
            </a:xfrm>
          </p:grpSpPr>
          <p:sp>
            <p:nvSpPr>
              <p:cNvPr id="25" name="AutoShape 21"/>
              <p:cNvSpPr>
                <a:spLocks noChangeAspect="1" noChangeArrowheads="1" noTextEdit="1"/>
              </p:cNvSpPr>
              <p:nvPr/>
            </p:nvSpPr>
            <p:spPr bwMode="gray">
              <a:xfrm>
                <a:off x="6082760" y="2230248"/>
                <a:ext cx="2848718" cy="53298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23"/>
              <p:cNvSpPr>
                <a:spLocks noEditPoints="1"/>
              </p:cNvSpPr>
              <p:nvPr/>
            </p:nvSpPr>
            <p:spPr bwMode="gray">
              <a:xfrm>
                <a:off x="7684590" y="2229099"/>
                <a:ext cx="1249760" cy="532985"/>
              </a:xfrm>
              <a:custGeom>
                <a:avLst/>
                <a:gdLst/>
                <a:ahLst/>
                <a:cxnLst>
                  <a:cxn ang="0">
                    <a:pos x="898" y="12"/>
                  </a:cxn>
                  <a:cxn ang="0">
                    <a:pos x="882" y="34"/>
                  </a:cxn>
                  <a:cxn ang="0">
                    <a:pos x="865" y="65"/>
                  </a:cxn>
                  <a:cxn ang="0">
                    <a:pos x="872" y="23"/>
                  </a:cxn>
                  <a:cxn ang="0">
                    <a:pos x="869" y="1"/>
                  </a:cxn>
                  <a:cxn ang="0">
                    <a:pos x="857" y="38"/>
                  </a:cxn>
                  <a:cxn ang="0">
                    <a:pos x="848" y="76"/>
                  </a:cxn>
                  <a:cxn ang="0">
                    <a:pos x="845" y="17"/>
                  </a:cxn>
                  <a:cxn ang="0">
                    <a:pos x="833" y="31"/>
                  </a:cxn>
                  <a:cxn ang="0">
                    <a:pos x="834" y="63"/>
                  </a:cxn>
                  <a:cxn ang="0">
                    <a:pos x="832" y="59"/>
                  </a:cxn>
                  <a:cxn ang="0">
                    <a:pos x="818" y="33"/>
                  </a:cxn>
                  <a:cxn ang="0">
                    <a:pos x="819" y="69"/>
                  </a:cxn>
                  <a:cxn ang="0">
                    <a:pos x="798" y="105"/>
                  </a:cxn>
                  <a:cxn ang="0">
                    <a:pos x="750" y="107"/>
                  </a:cxn>
                  <a:cxn ang="0">
                    <a:pos x="633" y="184"/>
                  </a:cxn>
                  <a:cxn ang="0">
                    <a:pos x="496" y="256"/>
                  </a:cxn>
                  <a:cxn ang="0">
                    <a:pos x="536" y="219"/>
                  </a:cxn>
                  <a:cxn ang="0">
                    <a:pos x="322" y="389"/>
                  </a:cxn>
                  <a:cxn ang="0">
                    <a:pos x="423" y="393"/>
                  </a:cxn>
                  <a:cxn ang="0">
                    <a:pos x="418" y="346"/>
                  </a:cxn>
                  <a:cxn ang="0">
                    <a:pos x="645" y="268"/>
                  </a:cxn>
                  <a:cxn ang="0">
                    <a:pos x="766" y="146"/>
                  </a:cxn>
                  <a:cxn ang="0">
                    <a:pos x="830" y="108"/>
                  </a:cxn>
                  <a:cxn ang="0">
                    <a:pos x="853" y="91"/>
                  </a:cxn>
                  <a:cxn ang="0">
                    <a:pos x="884" y="56"/>
                  </a:cxn>
                  <a:cxn ang="0">
                    <a:pos x="915" y="9"/>
                  </a:cxn>
                  <a:cxn ang="0">
                    <a:pos x="417" y="125"/>
                  </a:cxn>
                  <a:cxn ang="0">
                    <a:pos x="425" y="117"/>
                  </a:cxn>
                  <a:cxn ang="0">
                    <a:pos x="401" y="109"/>
                  </a:cxn>
                  <a:cxn ang="0">
                    <a:pos x="417" y="125"/>
                  </a:cxn>
                  <a:cxn ang="0">
                    <a:pos x="356" y="110"/>
                  </a:cxn>
                  <a:cxn ang="0">
                    <a:pos x="355" y="147"/>
                  </a:cxn>
                  <a:cxn ang="0">
                    <a:pos x="351" y="135"/>
                  </a:cxn>
                  <a:cxn ang="0">
                    <a:pos x="335" y="119"/>
                  </a:cxn>
                  <a:cxn ang="0">
                    <a:pos x="435" y="213"/>
                  </a:cxn>
                  <a:cxn ang="0">
                    <a:pos x="361" y="234"/>
                  </a:cxn>
                  <a:cxn ang="0">
                    <a:pos x="369" y="209"/>
                  </a:cxn>
                  <a:cxn ang="0">
                    <a:pos x="372" y="183"/>
                  </a:cxn>
                  <a:cxn ang="0">
                    <a:pos x="392" y="172"/>
                  </a:cxn>
                  <a:cxn ang="0">
                    <a:pos x="377" y="163"/>
                  </a:cxn>
                  <a:cxn ang="0">
                    <a:pos x="400" y="164"/>
                  </a:cxn>
                  <a:cxn ang="0">
                    <a:pos x="388" y="153"/>
                  </a:cxn>
                  <a:cxn ang="0">
                    <a:pos x="396" y="139"/>
                  </a:cxn>
                  <a:cxn ang="0">
                    <a:pos x="369" y="88"/>
                  </a:cxn>
                  <a:cxn ang="0">
                    <a:pos x="319" y="39"/>
                  </a:cxn>
                  <a:cxn ang="0">
                    <a:pos x="275" y="91"/>
                  </a:cxn>
                  <a:cxn ang="0">
                    <a:pos x="288" y="98"/>
                  </a:cxn>
                  <a:cxn ang="0">
                    <a:pos x="293" y="147"/>
                  </a:cxn>
                  <a:cxn ang="0">
                    <a:pos x="292" y="276"/>
                  </a:cxn>
                  <a:cxn ang="0">
                    <a:pos x="278" y="272"/>
                  </a:cxn>
                  <a:cxn ang="0">
                    <a:pos x="248" y="289"/>
                  </a:cxn>
                  <a:cxn ang="0">
                    <a:pos x="186" y="332"/>
                  </a:cxn>
                  <a:cxn ang="0">
                    <a:pos x="119" y="365"/>
                  </a:cxn>
                  <a:cxn ang="0">
                    <a:pos x="267" y="393"/>
                  </a:cxn>
                  <a:cxn ang="0">
                    <a:pos x="756" y="99"/>
                  </a:cxn>
                  <a:cxn ang="0">
                    <a:pos x="805" y="78"/>
                  </a:cxn>
                  <a:cxn ang="0">
                    <a:pos x="791" y="68"/>
                  </a:cxn>
                  <a:cxn ang="0">
                    <a:pos x="807" y="34"/>
                  </a:cxn>
                  <a:cxn ang="0">
                    <a:pos x="783" y="45"/>
                  </a:cxn>
                  <a:cxn ang="0">
                    <a:pos x="754" y="98"/>
                  </a:cxn>
                </a:cxnLst>
                <a:rect l="0" t="0" r="r" b="b"/>
                <a:pathLst>
                  <a:path w="921" h="393">
                    <a:moveTo>
                      <a:pt x="910" y="2"/>
                    </a:moveTo>
                    <a:cubicBezTo>
                      <a:pt x="906" y="3"/>
                      <a:pt x="902" y="6"/>
                      <a:pt x="898" y="12"/>
                    </a:cubicBezTo>
                    <a:cubicBezTo>
                      <a:pt x="896" y="14"/>
                      <a:pt x="892" y="21"/>
                      <a:pt x="890" y="26"/>
                    </a:cubicBezTo>
                    <a:cubicBezTo>
                      <a:pt x="886" y="29"/>
                      <a:pt x="885" y="31"/>
                      <a:pt x="882" y="34"/>
                    </a:cubicBezTo>
                    <a:cubicBezTo>
                      <a:pt x="879" y="37"/>
                      <a:pt x="875" y="42"/>
                      <a:pt x="874" y="43"/>
                    </a:cubicBezTo>
                    <a:cubicBezTo>
                      <a:pt x="872" y="50"/>
                      <a:pt x="865" y="65"/>
                      <a:pt x="865" y="65"/>
                    </a:cubicBezTo>
                    <a:cubicBezTo>
                      <a:pt x="866" y="58"/>
                      <a:pt x="872" y="41"/>
                      <a:pt x="873" y="37"/>
                    </a:cubicBezTo>
                    <a:cubicBezTo>
                      <a:pt x="874" y="33"/>
                      <a:pt x="872" y="27"/>
                      <a:pt x="872" y="23"/>
                    </a:cubicBezTo>
                    <a:cubicBezTo>
                      <a:pt x="871" y="19"/>
                      <a:pt x="871" y="15"/>
                      <a:pt x="871" y="12"/>
                    </a:cubicBezTo>
                    <a:cubicBezTo>
                      <a:pt x="871" y="10"/>
                      <a:pt x="873" y="0"/>
                      <a:pt x="869" y="1"/>
                    </a:cubicBezTo>
                    <a:cubicBezTo>
                      <a:pt x="866" y="1"/>
                      <a:pt x="860" y="3"/>
                      <a:pt x="858" y="12"/>
                    </a:cubicBezTo>
                    <a:cubicBezTo>
                      <a:pt x="857" y="18"/>
                      <a:pt x="858" y="27"/>
                      <a:pt x="857" y="38"/>
                    </a:cubicBezTo>
                    <a:cubicBezTo>
                      <a:pt x="857" y="40"/>
                      <a:pt x="855" y="43"/>
                      <a:pt x="854" y="50"/>
                    </a:cubicBezTo>
                    <a:cubicBezTo>
                      <a:pt x="852" y="57"/>
                      <a:pt x="850" y="68"/>
                      <a:pt x="848" y="76"/>
                    </a:cubicBezTo>
                    <a:cubicBezTo>
                      <a:pt x="848" y="73"/>
                      <a:pt x="851" y="56"/>
                      <a:pt x="851" y="49"/>
                    </a:cubicBezTo>
                    <a:cubicBezTo>
                      <a:pt x="852" y="42"/>
                      <a:pt x="846" y="20"/>
                      <a:pt x="845" y="17"/>
                    </a:cubicBezTo>
                    <a:cubicBezTo>
                      <a:pt x="845" y="14"/>
                      <a:pt x="844" y="13"/>
                      <a:pt x="842" y="13"/>
                    </a:cubicBezTo>
                    <a:cubicBezTo>
                      <a:pt x="837" y="12"/>
                      <a:pt x="832" y="20"/>
                      <a:pt x="833" y="31"/>
                    </a:cubicBezTo>
                    <a:cubicBezTo>
                      <a:pt x="834" y="34"/>
                      <a:pt x="838" y="44"/>
                      <a:pt x="838" y="49"/>
                    </a:cubicBezTo>
                    <a:cubicBezTo>
                      <a:pt x="837" y="54"/>
                      <a:pt x="835" y="60"/>
                      <a:pt x="834" y="63"/>
                    </a:cubicBezTo>
                    <a:cubicBezTo>
                      <a:pt x="834" y="70"/>
                      <a:pt x="833" y="80"/>
                      <a:pt x="832" y="85"/>
                    </a:cubicBezTo>
                    <a:cubicBezTo>
                      <a:pt x="833" y="81"/>
                      <a:pt x="832" y="62"/>
                      <a:pt x="832" y="59"/>
                    </a:cubicBezTo>
                    <a:cubicBezTo>
                      <a:pt x="831" y="56"/>
                      <a:pt x="826" y="43"/>
                      <a:pt x="823" y="35"/>
                    </a:cubicBezTo>
                    <a:cubicBezTo>
                      <a:pt x="822" y="32"/>
                      <a:pt x="820" y="32"/>
                      <a:pt x="818" y="33"/>
                    </a:cubicBezTo>
                    <a:cubicBezTo>
                      <a:pt x="812" y="36"/>
                      <a:pt x="812" y="47"/>
                      <a:pt x="813" y="52"/>
                    </a:cubicBezTo>
                    <a:cubicBezTo>
                      <a:pt x="814" y="54"/>
                      <a:pt x="817" y="62"/>
                      <a:pt x="819" y="69"/>
                    </a:cubicBezTo>
                    <a:cubicBezTo>
                      <a:pt x="815" y="100"/>
                      <a:pt x="808" y="102"/>
                      <a:pt x="808" y="102"/>
                    </a:cubicBezTo>
                    <a:cubicBezTo>
                      <a:pt x="808" y="102"/>
                      <a:pt x="806" y="104"/>
                      <a:pt x="798" y="105"/>
                    </a:cubicBezTo>
                    <a:cubicBezTo>
                      <a:pt x="784" y="108"/>
                      <a:pt x="759" y="114"/>
                      <a:pt x="752" y="107"/>
                    </a:cubicBezTo>
                    <a:cubicBezTo>
                      <a:pt x="752" y="107"/>
                      <a:pt x="751" y="106"/>
                      <a:pt x="750" y="107"/>
                    </a:cubicBezTo>
                    <a:cubicBezTo>
                      <a:pt x="748" y="108"/>
                      <a:pt x="730" y="124"/>
                      <a:pt x="719" y="132"/>
                    </a:cubicBezTo>
                    <a:cubicBezTo>
                      <a:pt x="684" y="158"/>
                      <a:pt x="661" y="165"/>
                      <a:pt x="633" y="184"/>
                    </a:cubicBezTo>
                    <a:cubicBezTo>
                      <a:pt x="602" y="234"/>
                      <a:pt x="572" y="250"/>
                      <a:pt x="533" y="261"/>
                    </a:cubicBezTo>
                    <a:cubicBezTo>
                      <a:pt x="516" y="266"/>
                      <a:pt x="500" y="265"/>
                      <a:pt x="496" y="256"/>
                    </a:cubicBezTo>
                    <a:cubicBezTo>
                      <a:pt x="489" y="235"/>
                      <a:pt x="517" y="224"/>
                      <a:pt x="536" y="221"/>
                    </a:cubicBezTo>
                    <a:cubicBezTo>
                      <a:pt x="537" y="221"/>
                      <a:pt x="537" y="219"/>
                      <a:pt x="536" y="219"/>
                    </a:cubicBezTo>
                    <a:cubicBezTo>
                      <a:pt x="527" y="214"/>
                      <a:pt x="516" y="211"/>
                      <a:pt x="503" y="211"/>
                    </a:cubicBezTo>
                    <a:cubicBezTo>
                      <a:pt x="405" y="209"/>
                      <a:pt x="313" y="326"/>
                      <a:pt x="322" y="389"/>
                    </a:cubicBezTo>
                    <a:cubicBezTo>
                      <a:pt x="322" y="390"/>
                      <a:pt x="322" y="392"/>
                      <a:pt x="322" y="393"/>
                    </a:cubicBezTo>
                    <a:cubicBezTo>
                      <a:pt x="423" y="393"/>
                      <a:pt x="423" y="393"/>
                      <a:pt x="423" y="393"/>
                    </a:cubicBezTo>
                    <a:cubicBezTo>
                      <a:pt x="437" y="380"/>
                      <a:pt x="452" y="363"/>
                      <a:pt x="467" y="342"/>
                    </a:cubicBezTo>
                    <a:cubicBezTo>
                      <a:pt x="467" y="342"/>
                      <a:pt x="440" y="347"/>
                      <a:pt x="418" y="346"/>
                    </a:cubicBezTo>
                    <a:cubicBezTo>
                      <a:pt x="418" y="346"/>
                      <a:pt x="448" y="340"/>
                      <a:pt x="491" y="311"/>
                    </a:cubicBezTo>
                    <a:cubicBezTo>
                      <a:pt x="562" y="329"/>
                      <a:pt x="626" y="237"/>
                      <a:pt x="645" y="268"/>
                    </a:cubicBezTo>
                    <a:cubicBezTo>
                      <a:pt x="645" y="269"/>
                      <a:pt x="647" y="268"/>
                      <a:pt x="647" y="268"/>
                    </a:cubicBezTo>
                    <a:cubicBezTo>
                      <a:pt x="704" y="229"/>
                      <a:pt x="726" y="180"/>
                      <a:pt x="766" y="146"/>
                    </a:cubicBezTo>
                    <a:cubicBezTo>
                      <a:pt x="784" y="131"/>
                      <a:pt x="787" y="125"/>
                      <a:pt x="818" y="117"/>
                    </a:cubicBezTo>
                    <a:cubicBezTo>
                      <a:pt x="827" y="114"/>
                      <a:pt x="827" y="111"/>
                      <a:pt x="830" y="108"/>
                    </a:cubicBezTo>
                    <a:cubicBezTo>
                      <a:pt x="834" y="103"/>
                      <a:pt x="840" y="107"/>
                      <a:pt x="844" y="100"/>
                    </a:cubicBezTo>
                    <a:cubicBezTo>
                      <a:pt x="846" y="97"/>
                      <a:pt x="844" y="92"/>
                      <a:pt x="853" y="91"/>
                    </a:cubicBezTo>
                    <a:cubicBezTo>
                      <a:pt x="861" y="89"/>
                      <a:pt x="862" y="81"/>
                      <a:pt x="866" y="77"/>
                    </a:cubicBezTo>
                    <a:cubicBezTo>
                      <a:pt x="876" y="65"/>
                      <a:pt x="875" y="66"/>
                      <a:pt x="884" y="56"/>
                    </a:cubicBezTo>
                    <a:cubicBezTo>
                      <a:pt x="888" y="52"/>
                      <a:pt x="901" y="35"/>
                      <a:pt x="903" y="33"/>
                    </a:cubicBezTo>
                    <a:cubicBezTo>
                      <a:pt x="905" y="29"/>
                      <a:pt x="909" y="16"/>
                      <a:pt x="915" y="9"/>
                    </a:cubicBezTo>
                    <a:cubicBezTo>
                      <a:pt x="921" y="3"/>
                      <a:pt x="916" y="0"/>
                      <a:pt x="910" y="2"/>
                    </a:cubicBezTo>
                    <a:close/>
                    <a:moveTo>
                      <a:pt x="417" y="125"/>
                    </a:moveTo>
                    <a:cubicBezTo>
                      <a:pt x="418" y="125"/>
                      <a:pt x="419" y="125"/>
                      <a:pt x="420" y="124"/>
                    </a:cubicBezTo>
                    <a:cubicBezTo>
                      <a:pt x="422" y="122"/>
                      <a:pt x="425" y="119"/>
                      <a:pt x="425" y="117"/>
                    </a:cubicBezTo>
                    <a:cubicBezTo>
                      <a:pt x="425" y="113"/>
                      <a:pt x="419" y="107"/>
                      <a:pt x="409" y="107"/>
                    </a:cubicBezTo>
                    <a:cubicBezTo>
                      <a:pt x="405" y="106"/>
                      <a:pt x="404" y="107"/>
                      <a:pt x="401" y="109"/>
                    </a:cubicBezTo>
                    <a:cubicBezTo>
                      <a:pt x="398" y="113"/>
                      <a:pt x="401" y="121"/>
                      <a:pt x="402" y="123"/>
                    </a:cubicBezTo>
                    <a:cubicBezTo>
                      <a:pt x="410" y="123"/>
                      <a:pt x="415" y="125"/>
                      <a:pt x="417" y="125"/>
                    </a:cubicBezTo>
                    <a:close/>
                    <a:moveTo>
                      <a:pt x="343" y="106"/>
                    </a:moveTo>
                    <a:cubicBezTo>
                      <a:pt x="343" y="106"/>
                      <a:pt x="347" y="110"/>
                      <a:pt x="356" y="110"/>
                    </a:cubicBezTo>
                    <a:cubicBezTo>
                      <a:pt x="366" y="110"/>
                      <a:pt x="370" y="112"/>
                      <a:pt x="372" y="115"/>
                    </a:cubicBezTo>
                    <a:cubicBezTo>
                      <a:pt x="372" y="134"/>
                      <a:pt x="362" y="147"/>
                      <a:pt x="355" y="147"/>
                    </a:cubicBezTo>
                    <a:cubicBezTo>
                      <a:pt x="353" y="147"/>
                      <a:pt x="352" y="146"/>
                      <a:pt x="353" y="145"/>
                    </a:cubicBezTo>
                    <a:cubicBezTo>
                      <a:pt x="353" y="142"/>
                      <a:pt x="353" y="138"/>
                      <a:pt x="351" y="135"/>
                    </a:cubicBezTo>
                    <a:cubicBezTo>
                      <a:pt x="348" y="131"/>
                      <a:pt x="346" y="128"/>
                      <a:pt x="339" y="125"/>
                    </a:cubicBezTo>
                    <a:cubicBezTo>
                      <a:pt x="338" y="124"/>
                      <a:pt x="335" y="123"/>
                      <a:pt x="335" y="119"/>
                    </a:cubicBezTo>
                    <a:cubicBezTo>
                      <a:pt x="335" y="112"/>
                      <a:pt x="343" y="106"/>
                      <a:pt x="343" y="106"/>
                    </a:cubicBezTo>
                    <a:close/>
                    <a:moveTo>
                      <a:pt x="435" y="213"/>
                    </a:moveTo>
                    <a:cubicBezTo>
                      <a:pt x="437" y="212"/>
                      <a:pt x="437" y="211"/>
                      <a:pt x="435" y="211"/>
                    </a:cubicBezTo>
                    <a:cubicBezTo>
                      <a:pt x="410" y="214"/>
                      <a:pt x="385" y="223"/>
                      <a:pt x="361" y="234"/>
                    </a:cubicBezTo>
                    <a:cubicBezTo>
                      <a:pt x="360" y="232"/>
                      <a:pt x="360" y="231"/>
                      <a:pt x="360" y="227"/>
                    </a:cubicBezTo>
                    <a:cubicBezTo>
                      <a:pt x="360" y="220"/>
                      <a:pt x="361" y="209"/>
                      <a:pt x="369" y="209"/>
                    </a:cubicBezTo>
                    <a:cubicBezTo>
                      <a:pt x="387" y="209"/>
                      <a:pt x="397" y="199"/>
                      <a:pt x="397" y="199"/>
                    </a:cubicBezTo>
                    <a:cubicBezTo>
                      <a:pt x="397" y="199"/>
                      <a:pt x="370" y="195"/>
                      <a:pt x="372" y="183"/>
                    </a:cubicBezTo>
                    <a:cubicBezTo>
                      <a:pt x="373" y="180"/>
                      <a:pt x="375" y="178"/>
                      <a:pt x="378" y="179"/>
                    </a:cubicBezTo>
                    <a:cubicBezTo>
                      <a:pt x="388" y="181"/>
                      <a:pt x="392" y="172"/>
                      <a:pt x="392" y="172"/>
                    </a:cubicBezTo>
                    <a:cubicBezTo>
                      <a:pt x="392" y="172"/>
                      <a:pt x="382" y="170"/>
                      <a:pt x="378" y="167"/>
                    </a:cubicBezTo>
                    <a:cubicBezTo>
                      <a:pt x="377" y="166"/>
                      <a:pt x="376" y="165"/>
                      <a:pt x="377" y="163"/>
                    </a:cubicBezTo>
                    <a:cubicBezTo>
                      <a:pt x="379" y="162"/>
                      <a:pt x="381" y="160"/>
                      <a:pt x="384" y="161"/>
                    </a:cubicBezTo>
                    <a:cubicBezTo>
                      <a:pt x="392" y="163"/>
                      <a:pt x="397" y="164"/>
                      <a:pt x="400" y="164"/>
                    </a:cubicBezTo>
                    <a:cubicBezTo>
                      <a:pt x="402" y="164"/>
                      <a:pt x="403" y="162"/>
                      <a:pt x="401" y="162"/>
                    </a:cubicBezTo>
                    <a:cubicBezTo>
                      <a:pt x="398" y="160"/>
                      <a:pt x="394" y="156"/>
                      <a:pt x="388" y="153"/>
                    </a:cubicBezTo>
                    <a:cubicBezTo>
                      <a:pt x="397" y="148"/>
                      <a:pt x="403" y="140"/>
                      <a:pt x="403" y="140"/>
                    </a:cubicBezTo>
                    <a:cubicBezTo>
                      <a:pt x="403" y="140"/>
                      <a:pt x="400" y="141"/>
                      <a:pt x="396" y="139"/>
                    </a:cubicBezTo>
                    <a:cubicBezTo>
                      <a:pt x="390" y="136"/>
                      <a:pt x="390" y="109"/>
                      <a:pt x="386" y="103"/>
                    </a:cubicBezTo>
                    <a:cubicBezTo>
                      <a:pt x="382" y="96"/>
                      <a:pt x="374" y="90"/>
                      <a:pt x="369" y="88"/>
                    </a:cubicBezTo>
                    <a:cubicBezTo>
                      <a:pt x="362" y="85"/>
                      <a:pt x="356" y="84"/>
                      <a:pt x="353" y="81"/>
                    </a:cubicBezTo>
                    <a:cubicBezTo>
                      <a:pt x="347" y="75"/>
                      <a:pt x="357" y="39"/>
                      <a:pt x="319" y="39"/>
                    </a:cubicBezTo>
                    <a:cubicBezTo>
                      <a:pt x="295" y="39"/>
                      <a:pt x="279" y="58"/>
                      <a:pt x="275" y="77"/>
                    </a:cubicBezTo>
                    <a:cubicBezTo>
                      <a:pt x="274" y="84"/>
                      <a:pt x="275" y="91"/>
                      <a:pt x="275" y="91"/>
                    </a:cubicBezTo>
                    <a:cubicBezTo>
                      <a:pt x="275" y="91"/>
                      <a:pt x="295" y="87"/>
                      <a:pt x="302" y="107"/>
                    </a:cubicBezTo>
                    <a:cubicBezTo>
                      <a:pt x="296" y="101"/>
                      <a:pt x="290" y="98"/>
                      <a:pt x="288" y="98"/>
                    </a:cubicBezTo>
                    <a:cubicBezTo>
                      <a:pt x="281" y="97"/>
                      <a:pt x="276" y="101"/>
                      <a:pt x="275" y="108"/>
                    </a:cubicBezTo>
                    <a:cubicBezTo>
                      <a:pt x="271" y="128"/>
                      <a:pt x="291" y="145"/>
                      <a:pt x="293" y="147"/>
                    </a:cubicBezTo>
                    <a:cubicBezTo>
                      <a:pt x="289" y="187"/>
                      <a:pt x="307" y="212"/>
                      <a:pt x="308" y="244"/>
                    </a:cubicBezTo>
                    <a:cubicBezTo>
                      <a:pt x="309" y="265"/>
                      <a:pt x="295" y="274"/>
                      <a:pt x="292" y="276"/>
                    </a:cubicBezTo>
                    <a:cubicBezTo>
                      <a:pt x="275" y="293"/>
                      <a:pt x="271" y="300"/>
                      <a:pt x="266" y="314"/>
                    </a:cubicBezTo>
                    <a:cubicBezTo>
                      <a:pt x="266" y="303"/>
                      <a:pt x="269" y="289"/>
                      <a:pt x="278" y="272"/>
                    </a:cubicBezTo>
                    <a:cubicBezTo>
                      <a:pt x="279" y="271"/>
                      <a:pt x="279" y="270"/>
                      <a:pt x="277" y="271"/>
                    </a:cubicBezTo>
                    <a:cubicBezTo>
                      <a:pt x="269" y="275"/>
                      <a:pt x="254" y="284"/>
                      <a:pt x="248" y="289"/>
                    </a:cubicBezTo>
                    <a:cubicBezTo>
                      <a:pt x="242" y="296"/>
                      <a:pt x="235" y="302"/>
                      <a:pt x="229" y="309"/>
                    </a:cubicBezTo>
                    <a:cubicBezTo>
                      <a:pt x="220" y="312"/>
                      <a:pt x="205" y="318"/>
                      <a:pt x="186" y="332"/>
                    </a:cubicBezTo>
                    <a:cubicBezTo>
                      <a:pt x="170" y="343"/>
                      <a:pt x="160" y="364"/>
                      <a:pt x="160" y="364"/>
                    </a:cubicBezTo>
                    <a:cubicBezTo>
                      <a:pt x="160" y="364"/>
                      <a:pt x="143" y="363"/>
                      <a:pt x="119" y="365"/>
                    </a:cubicBezTo>
                    <a:cubicBezTo>
                      <a:pt x="67" y="369"/>
                      <a:pt x="0" y="393"/>
                      <a:pt x="0" y="393"/>
                    </a:cubicBezTo>
                    <a:cubicBezTo>
                      <a:pt x="267" y="393"/>
                      <a:pt x="267" y="393"/>
                      <a:pt x="267" y="393"/>
                    </a:cubicBezTo>
                    <a:cubicBezTo>
                      <a:pt x="272" y="323"/>
                      <a:pt x="364" y="236"/>
                      <a:pt x="435" y="213"/>
                    </a:cubicBezTo>
                    <a:close/>
                    <a:moveTo>
                      <a:pt x="756" y="99"/>
                    </a:moveTo>
                    <a:cubicBezTo>
                      <a:pt x="764" y="95"/>
                      <a:pt x="775" y="94"/>
                      <a:pt x="786" y="88"/>
                    </a:cubicBezTo>
                    <a:cubicBezTo>
                      <a:pt x="793" y="85"/>
                      <a:pt x="795" y="84"/>
                      <a:pt x="805" y="78"/>
                    </a:cubicBezTo>
                    <a:cubicBezTo>
                      <a:pt x="806" y="77"/>
                      <a:pt x="806" y="76"/>
                      <a:pt x="804" y="76"/>
                    </a:cubicBezTo>
                    <a:cubicBezTo>
                      <a:pt x="799" y="76"/>
                      <a:pt x="791" y="74"/>
                      <a:pt x="791" y="68"/>
                    </a:cubicBezTo>
                    <a:cubicBezTo>
                      <a:pt x="790" y="62"/>
                      <a:pt x="792" y="55"/>
                      <a:pt x="797" y="49"/>
                    </a:cubicBezTo>
                    <a:cubicBezTo>
                      <a:pt x="800" y="46"/>
                      <a:pt x="807" y="40"/>
                      <a:pt x="807" y="34"/>
                    </a:cubicBezTo>
                    <a:cubicBezTo>
                      <a:pt x="807" y="23"/>
                      <a:pt x="802" y="22"/>
                      <a:pt x="797" y="22"/>
                    </a:cubicBezTo>
                    <a:cubicBezTo>
                      <a:pt x="797" y="32"/>
                      <a:pt x="787" y="41"/>
                      <a:pt x="783" y="45"/>
                    </a:cubicBezTo>
                    <a:cubicBezTo>
                      <a:pt x="771" y="60"/>
                      <a:pt x="759" y="65"/>
                      <a:pt x="758" y="80"/>
                    </a:cubicBezTo>
                    <a:cubicBezTo>
                      <a:pt x="758" y="85"/>
                      <a:pt x="755" y="94"/>
                      <a:pt x="754" y="98"/>
                    </a:cubicBezTo>
                    <a:cubicBezTo>
                      <a:pt x="754" y="100"/>
                      <a:pt x="755" y="100"/>
                      <a:pt x="756" y="99"/>
                    </a:cubicBezTo>
                    <a:close/>
                  </a:path>
                </a:pathLst>
              </a:custGeom>
              <a:blipFill dpi="0" rotWithShape="1">
                <a:blip r:embed="rId2" cstate="print"/>
                <a:srcRect/>
                <a:stretch>
                  <a:fillRect/>
                </a:stretch>
              </a:blip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" name="Group 33"/>
              <p:cNvGrpSpPr>
                <a:grpSpLocks noChangeAspect="1"/>
              </p:cNvGrpSpPr>
              <p:nvPr/>
            </p:nvGrpSpPr>
            <p:grpSpPr bwMode="gray">
              <a:xfrm>
                <a:off x="6102428" y="2323691"/>
                <a:ext cx="1779160" cy="259200"/>
                <a:chOff x="1430338" y="-1666875"/>
                <a:chExt cx="4968876" cy="723900"/>
              </a:xfrm>
              <a:solidFill>
                <a:srgbClr val="005192"/>
              </a:solidFill>
            </p:grpSpPr>
            <p:sp>
              <p:nvSpPr>
                <p:cNvPr id="28" name="Freeform 27"/>
                <p:cNvSpPr>
                  <a:spLocks/>
                </p:cNvSpPr>
                <p:nvPr/>
              </p:nvSpPr>
              <p:spPr bwMode="gray">
                <a:xfrm>
                  <a:off x="2705101" y="-1463675"/>
                  <a:ext cx="447675" cy="509588"/>
                </a:xfrm>
                <a:custGeom>
                  <a:avLst/>
                  <a:gdLst/>
                  <a:ahLst/>
                  <a:cxnLst>
                    <a:cxn ang="0">
                      <a:pos x="2" y="136"/>
                    </a:cxn>
                    <a:cxn ang="0">
                      <a:pos x="104" y="136"/>
                    </a:cxn>
                    <a:cxn ang="0">
                      <a:pos x="119" y="120"/>
                    </a:cxn>
                    <a:cxn ang="0">
                      <a:pos x="119" y="112"/>
                    </a:cxn>
                    <a:cxn ang="0">
                      <a:pos x="93" y="113"/>
                    </a:cxn>
                    <a:cxn ang="0">
                      <a:pos x="59" y="113"/>
                    </a:cxn>
                    <a:cxn ang="0">
                      <a:pos x="118" y="0"/>
                    </a:cxn>
                    <a:cxn ang="0">
                      <a:pos x="2" y="0"/>
                    </a:cxn>
                    <a:cxn ang="0">
                      <a:pos x="2" y="23"/>
                    </a:cxn>
                    <a:cxn ang="0">
                      <a:pos x="54" y="23"/>
                    </a:cxn>
                    <a:cxn ang="0">
                      <a:pos x="5" y="116"/>
                    </a:cxn>
                    <a:cxn ang="0">
                      <a:pos x="2" y="136"/>
                    </a:cxn>
                  </a:cxnLst>
                  <a:rect l="0" t="0" r="r" b="b"/>
                  <a:pathLst>
                    <a:path w="119" h="136">
                      <a:moveTo>
                        <a:pt x="2" y="136"/>
                      </a:moveTo>
                      <a:cubicBezTo>
                        <a:pt x="104" y="136"/>
                        <a:pt x="104" y="136"/>
                        <a:pt x="104" y="136"/>
                      </a:cubicBezTo>
                      <a:cubicBezTo>
                        <a:pt x="113" y="136"/>
                        <a:pt x="119" y="129"/>
                        <a:pt x="119" y="120"/>
                      </a:cubicBezTo>
                      <a:cubicBezTo>
                        <a:pt x="119" y="112"/>
                        <a:pt x="119" y="112"/>
                        <a:pt x="119" y="112"/>
                      </a:cubicBezTo>
                      <a:cubicBezTo>
                        <a:pt x="115" y="113"/>
                        <a:pt x="107" y="113"/>
                        <a:pt x="93" y="113"/>
                      </a:cubicBezTo>
                      <a:cubicBezTo>
                        <a:pt x="59" y="113"/>
                        <a:pt x="59" y="113"/>
                        <a:pt x="59" y="113"/>
                      </a:cubicBezTo>
                      <a:cubicBezTo>
                        <a:pt x="118" y="0"/>
                        <a:pt x="118" y="0"/>
                        <a:pt x="118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23"/>
                        <a:pt x="2" y="23"/>
                        <a:pt x="2" y="23"/>
                      </a:cubicBezTo>
                      <a:cubicBezTo>
                        <a:pt x="54" y="23"/>
                        <a:pt x="54" y="23"/>
                        <a:pt x="54" y="23"/>
                      </a:cubicBezTo>
                      <a:cubicBezTo>
                        <a:pt x="5" y="116"/>
                        <a:pt x="5" y="116"/>
                        <a:pt x="5" y="116"/>
                      </a:cubicBezTo>
                      <a:cubicBezTo>
                        <a:pt x="1" y="124"/>
                        <a:pt x="0" y="131"/>
                        <a:pt x="2" y="136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" name="Freeform 25"/>
                <p:cNvSpPr>
                  <a:spLocks/>
                </p:cNvSpPr>
                <p:nvPr/>
              </p:nvSpPr>
              <p:spPr bwMode="gray">
                <a:xfrm>
                  <a:off x="2327276" y="-1463675"/>
                  <a:ext cx="344488" cy="509588"/>
                </a:xfrm>
                <a:custGeom>
                  <a:avLst/>
                  <a:gdLst/>
                  <a:ahLst/>
                  <a:cxnLst>
                    <a:cxn ang="0">
                      <a:pos x="0" y="64"/>
                    </a:cxn>
                    <a:cxn ang="0">
                      <a:pos x="27" y="115"/>
                    </a:cxn>
                    <a:cxn ang="0">
                      <a:pos x="54" y="136"/>
                    </a:cxn>
                    <a:cxn ang="0">
                      <a:pos x="92" y="136"/>
                    </a:cxn>
                    <a:cxn ang="0">
                      <a:pos x="84" y="124"/>
                    </a:cxn>
                    <a:cxn ang="0">
                      <a:pos x="46" y="53"/>
                    </a:cxn>
                    <a:cxn ang="0">
                      <a:pos x="91" y="0"/>
                    </a:cxn>
                    <a:cxn ang="0">
                      <a:pos x="50" y="0"/>
                    </a:cxn>
                    <a:cxn ang="0">
                      <a:pos x="0" y="64"/>
                    </a:cxn>
                  </a:cxnLst>
                  <a:rect l="0" t="0" r="r" b="b"/>
                  <a:pathLst>
                    <a:path w="92" h="136">
                      <a:moveTo>
                        <a:pt x="0" y="64"/>
                      </a:moveTo>
                      <a:cubicBezTo>
                        <a:pt x="27" y="115"/>
                        <a:pt x="27" y="115"/>
                        <a:pt x="27" y="115"/>
                      </a:cubicBezTo>
                      <a:cubicBezTo>
                        <a:pt x="34" y="130"/>
                        <a:pt x="38" y="136"/>
                        <a:pt x="54" y="136"/>
                      </a:cubicBezTo>
                      <a:cubicBezTo>
                        <a:pt x="92" y="136"/>
                        <a:pt x="92" y="136"/>
                        <a:pt x="92" y="136"/>
                      </a:cubicBezTo>
                      <a:cubicBezTo>
                        <a:pt x="90" y="134"/>
                        <a:pt x="88" y="131"/>
                        <a:pt x="84" y="124"/>
                      </a:cubicBezTo>
                      <a:cubicBezTo>
                        <a:pt x="46" y="53"/>
                        <a:pt x="46" y="53"/>
                        <a:pt x="46" y="53"/>
                      </a:cubicBezTo>
                      <a:cubicBezTo>
                        <a:pt x="91" y="0"/>
                        <a:pt x="91" y="0"/>
                        <a:pt x="91" y="0"/>
                      </a:cubicBez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0" y="64"/>
                        <a:pt x="0" y="64"/>
                        <a:pt x="0" y="6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" name="Freeform 26"/>
                <p:cNvSpPr>
                  <a:spLocks/>
                </p:cNvSpPr>
                <p:nvPr/>
              </p:nvSpPr>
              <p:spPr bwMode="gray">
                <a:xfrm>
                  <a:off x="2143126" y="-1666875"/>
                  <a:ext cx="173038" cy="712788"/>
                </a:xfrm>
                <a:custGeom>
                  <a:avLst/>
                  <a:gdLst/>
                  <a:ahLst/>
                  <a:cxnLst>
                    <a:cxn ang="0">
                      <a:pos x="0" y="190"/>
                    </a:cxn>
                    <a:cxn ang="0">
                      <a:pos x="46" y="190"/>
                    </a:cxn>
                    <a:cxn ang="0">
                      <a:pos x="46" y="28"/>
                    </a:cxn>
                    <a:cxn ang="0">
                      <a:pos x="17" y="0"/>
                    </a:cxn>
                    <a:cxn ang="0">
                      <a:pos x="0" y="0"/>
                    </a:cxn>
                    <a:cxn ang="0">
                      <a:pos x="0" y="190"/>
                    </a:cxn>
                  </a:cxnLst>
                  <a:rect l="0" t="0" r="r" b="b"/>
                  <a:pathLst>
                    <a:path w="46" h="190">
                      <a:moveTo>
                        <a:pt x="0" y="190"/>
                      </a:moveTo>
                      <a:cubicBezTo>
                        <a:pt x="46" y="190"/>
                        <a:pt x="46" y="190"/>
                        <a:pt x="46" y="190"/>
                      </a:cubicBezTo>
                      <a:cubicBezTo>
                        <a:pt x="46" y="28"/>
                        <a:pt x="46" y="28"/>
                        <a:pt x="46" y="28"/>
                      </a:cubicBezTo>
                      <a:cubicBezTo>
                        <a:pt x="46" y="11"/>
                        <a:pt x="34" y="0"/>
                        <a:pt x="1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90"/>
                        <a:pt x="0" y="190"/>
                        <a:pt x="0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" name="Freeform 27"/>
                <p:cNvSpPr>
                  <a:spLocks noEditPoints="1"/>
                </p:cNvSpPr>
                <p:nvPr/>
              </p:nvSpPr>
              <p:spPr bwMode="gray">
                <a:xfrm>
                  <a:off x="1430338" y="-1614488"/>
                  <a:ext cx="652463" cy="660400"/>
                </a:xfrm>
                <a:custGeom>
                  <a:avLst/>
                  <a:gdLst/>
                  <a:ahLst/>
                  <a:cxnLst>
                    <a:cxn ang="0">
                      <a:pos x="52" y="111"/>
                    </a:cxn>
                    <a:cxn ang="0">
                      <a:pos x="77" y="37"/>
                    </a:cxn>
                    <a:cxn ang="0">
                      <a:pos x="100" y="111"/>
                    </a:cxn>
                    <a:cxn ang="0">
                      <a:pos x="52" y="111"/>
                    </a:cxn>
                    <a:cxn ang="0">
                      <a:pos x="169" y="164"/>
                    </a:cxn>
                    <a:cxn ang="0">
                      <a:pos x="122" y="24"/>
                    </a:cxn>
                    <a:cxn ang="0">
                      <a:pos x="87" y="0"/>
                    </a:cxn>
                    <a:cxn ang="0">
                      <a:pos x="65" y="0"/>
                    </a:cxn>
                    <a:cxn ang="0">
                      <a:pos x="0" y="176"/>
                    </a:cxn>
                    <a:cxn ang="0">
                      <a:pos x="29" y="176"/>
                    </a:cxn>
                    <a:cxn ang="0">
                      <a:pos x="44" y="133"/>
                    </a:cxn>
                    <a:cxn ang="0">
                      <a:pos x="107" y="133"/>
                    </a:cxn>
                    <a:cxn ang="0">
                      <a:pos x="116" y="161"/>
                    </a:cxn>
                    <a:cxn ang="0">
                      <a:pos x="135" y="176"/>
                    </a:cxn>
                    <a:cxn ang="0">
                      <a:pos x="174" y="176"/>
                    </a:cxn>
                    <a:cxn ang="0">
                      <a:pos x="169" y="164"/>
                    </a:cxn>
                  </a:cxnLst>
                  <a:rect l="0" t="0" r="r" b="b"/>
                  <a:pathLst>
                    <a:path w="174" h="176">
                      <a:moveTo>
                        <a:pt x="52" y="111"/>
                      </a:moveTo>
                      <a:cubicBezTo>
                        <a:pt x="77" y="37"/>
                        <a:pt x="77" y="37"/>
                        <a:pt x="77" y="37"/>
                      </a:cubicBezTo>
                      <a:cubicBezTo>
                        <a:pt x="100" y="111"/>
                        <a:pt x="100" y="111"/>
                        <a:pt x="100" y="111"/>
                      </a:cubicBezTo>
                      <a:cubicBezTo>
                        <a:pt x="52" y="111"/>
                        <a:pt x="52" y="111"/>
                        <a:pt x="52" y="111"/>
                      </a:cubicBezTo>
                      <a:close/>
                      <a:moveTo>
                        <a:pt x="169" y="164"/>
                      </a:moveTo>
                      <a:cubicBezTo>
                        <a:pt x="122" y="24"/>
                        <a:pt x="122" y="24"/>
                        <a:pt x="122" y="24"/>
                      </a:cubicBezTo>
                      <a:cubicBezTo>
                        <a:pt x="116" y="8"/>
                        <a:pt x="110" y="0"/>
                        <a:pt x="87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0" y="176"/>
                        <a:pt x="0" y="176"/>
                        <a:pt x="0" y="176"/>
                      </a:cubicBezTo>
                      <a:cubicBezTo>
                        <a:pt x="29" y="176"/>
                        <a:pt x="29" y="176"/>
                        <a:pt x="29" y="176"/>
                      </a:cubicBezTo>
                      <a:cubicBezTo>
                        <a:pt x="44" y="133"/>
                        <a:pt x="44" y="133"/>
                        <a:pt x="44" y="133"/>
                      </a:cubicBezTo>
                      <a:cubicBezTo>
                        <a:pt x="107" y="133"/>
                        <a:pt x="107" y="133"/>
                        <a:pt x="107" y="133"/>
                      </a:cubicBezTo>
                      <a:cubicBezTo>
                        <a:pt x="116" y="161"/>
                        <a:pt x="116" y="161"/>
                        <a:pt x="116" y="161"/>
                      </a:cubicBezTo>
                      <a:cubicBezTo>
                        <a:pt x="120" y="171"/>
                        <a:pt x="124" y="176"/>
                        <a:pt x="135" y="176"/>
                      </a:cubicBezTo>
                      <a:cubicBezTo>
                        <a:pt x="174" y="176"/>
                        <a:pt x="174" y="176"/>
                        <a:pt x="174" y="176"/>
                      </a:cubicBezTo>
                      <a:cubicBezTo>
                        <a:pt x="173" y="174"/>
                        <a:pt x="171" y="171"/>
                        <a:pt x="169" y="16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" name="Freeform 28"/>
                <p:cNvSpPr>
                  <a:spLocks noEditPoints="1"/>
                </p:cNvSpPr>
                <p:nvPr/>
              </p:nvSpPr>
              <p:spPr bwMode="gray">
                <a:xfrm>
                  <a:off x="3181351" y="-1474788"/>
                  <a:ext cx="541338" cy="531813"/>
                </a:xfrm>
                <a:custGeom>
                  <a:avLst/>
                  <a:gdLst/>
                  <a:ahLst/>
                  <a:cxnLst>
                    <a:cxn ang="0">
                      <a:pos x="72" y="117"/>
                    </a:cxn>
                    <a:cxn ang="0">
                      <a:pos x="51" y="70"/>
                    </a:cxn>
                    <a:cxn ang="0">
                      <a:pos x="72" y="24"/>
                    </a:cxn>
                    <a:cxn ang="0">
                      <a:pos x="93" y="73"/>
                    </a:cxn>
                    <a:cxn ang="0">
                      <a:pos x="72" y="117"/>
                    </a:cxn>
                    <a:cxn ang="0">
                      <a:pos x="72" y="142"/>
                    </a:cxn>
                    <a:cxn ang="0">
                      <a:pos x="144" y="68"/>
                    </a:cxn>
                    <a:cxn ang="0">
                      <a:pos x="73" y="0"/>
                    </a:cxn>
                    <a:cxn ang="0">
                      <a:pos x="0" y="75"/>
                    </a:cxn>
                    <a:cxn ang="0">
                      <a:pos x="72" y="142"/>
                    </a:cxn>
                  </a:cxnLst>
                  <a:rect l="0" t="0" r="r" b="b"/>
                  <a:pathLst>
                    <a:path w="144" h="142">
                      <a:moveTo>
                        <a:pt x="72" y="117"/>
                      </a:moveTo>
                      <a:cubicBezTo>
                        <a:pt x="56" y="117"/>
                        <a:pt x="51" y="99"/>
                        <a:pt x="51" y="70"/>
                      </a:cubicBezTo>
                      <a:cubicBezTo>
                        <a:pt x="51" y="43"/>
                        <a:pt x="56" y="24"/>
                        <a:pt x="72" y="24"/>
                      </a:cubicBezTo>
                      <a:cubicBezTo>
                        <a:pt x="88" y="24"/>
                        <a:pt x="93" y="44"/>
                        <a:pt x="93" y="73"/>
                      </a:cubicBezTo>
                      <a:cubicBezTo>
                        <a:pt x="93" y="100"/>
                        <a:pt x="88" y="117"/>
                        <a:pt x="72" y="117"/>
                      </a:cubicBezTo>
                      <a:moveTo>
                        <a:pt x="72" y="142"/>
                      </a:moveTo>
                      <a:cubicBezTo>
                        <a:pt x="111" y="142"/>
                        <a:pt x="144" y="114"/>
                        <a:pt x="144" y="68"/>
                      </a:cubicBezTo>
                      <a:cubicBezTo>
                        <a:pt x="144" y="29"/>
                        <a:pt x="112" y="0"/>
                        <a:pt x="73" y="0"/>
                      </a:cubicBezTo>
                      <a:cubicBezTo>
                        <a:pt x="33" y="0"/>
                        <a:pt x="0" y="28"/>
                        <a:pt x="0" y="75"/>
                      </a:cubicBezTo>
                      <a:cubicBezTo>
                        <a:pt x="0" y="115"/>
                        <a:pt x="33" y="142"/>
                        <a:pt x="72" y="14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" name="Freeform 29"/>
                <p:cNvSpPr>
                  <a:spLocks/>
                </p:cNvSpPr>
                <p:nvPr/>
              </p:nvSpPr>
              <p:spPr bwMode="gray">
                <a:xfrm>
                  <a:off x="3800476" y="-1617663"/>
                  <a:ext cx="577850" cy="663575"/>
                </a:xfrm>
                <a:custGeom>
                  <a:avLst/>
                  <a:gdLst/>
                  <a:ahLst/>
                  <a:cxnLst>
                    <a:cxn ang="0">
                      <a:pos x="0" y="177"/>
                    </a:cxn>
                    <a:cxn ang="0">
                      <a:pos x="30" y="177"/>
                    </a:cxn>
                    <a:cxn ang="0">
                      <a:pos x="30" y="65"/>
                    </a:cxn>
                    <a:cxn ang="0">
                      <a:pos x="104" y="154"/>
                    </a:cxn>
                    <a:cxn ang="0">
                      <a:pos x="133" y="177"/>
                    </a:cxn>
                    <a:cxn ang="0">
                      <a:pos x="154" y="177"/>
                    </a:cxn>
                    <a:cxn ang="0">
                      <a:pos x="154" y="16"/>
                    </a:cxn>
                    <a:cxn ang="0">
                      <a:pos x="138" y="0"/>
                    </a:cxn>
                    <a:cxn ang="0">
                      <a:pos x="125" y="0"/>
                    </a:cxn>
                    <a:cxn ang="0">
                      <a:pos x="125" y="107"/>
                    </a:cxn>
                    <a:cxn ang="0">
                      <a:pos x="54" y="21"/>
                    </a:cxn>
                    <a:cxn ang="0">
                      <a:pos x="22" y="0"/>
                    </a:cxn>
                    <a:cxn ang="0">
                      <a:pos x="0" y="0"/>
                    </a:cxn>
                    <a:cxn ang="0">
                      <a:pos x="0" y="177"/>
                    </a:cxn>
                  </a:cxnLst>
                  <a:rect l="0" t="0" r="r" b="b"/>
                  <a:pathLst>
                    <a:path w="154" h="177">
                      <a:moveTo>
                        <a:pt x="0" y="177"/>
                      </a:moveTo>
                      <a:cubicBezTo>
                        <a:pt x="30" y="177"/>
                        <a:pt x="30" y="177"/>
                        <a:pt x="30" y="177"/>
                      </a:cubicBezTo>
                      <a:cubicBezTo>
                        <a:pt x="30" y="65"/>
                        <a:pt x="30" y="65"/>
                        <a:pt x="30" y="65"/>
                      </a:cubicBezTo>
                      <a:cubicBezTo>
                        <a:pt x="104" y="154"/>
                        <a:pt x="104" y="154"/>
                        <a:pt x="104" y="154"/>
                      </a:cubicBezTo>
                      <a:cubicBezTo>
                        <a:pt x="115" y="167"/>
                        <a:pt x="122" y="177"/>
                        <a:pt x="133" y="177"/>
                      </a:cubicBezTo>
                      <a:cubicBezTo>
                        <a:pt x="154" y="177"/>
                        <a:pt x="154" y="177"/>
                        <a:pt x="154" y="177"/>
                      </a:cubicBezTo>
                      <a:cubicBezTo>
                        <a:pt x="154" y="16"/>
                        <a:pt x="154" y="16"/>
                        <a:pt x="154" y="16"/>
                      </a:cubicBezTo>
                      <a:cubicBezTo>
                        <a:pt x="154" y="6"/>
                        <a:pt x="148" y="0"/>
                        <a:pt x="138" y="0"/>
                      </a:cubicBezTo>
                      <a:cubicBezTo>
                        <a:pt x="125" y="0"/>
                        <a:pt x="125" y="0"/>
                        <a:pt x="125" y="0"/>
                      </a:cubicBezTo>
                      <a:cubicBezTo>
                        <a:pt x="125" y="107"/>
                        <a:pt x="125" y="107"/>
                        <a:pt x="125" y="107"/>
                      </a:cubicBezTo>
                      <a:cubicBezTo>
                        <a:pt x="54" y="21"/>
                        <a:pt x="54" y="21"/>
                        <a:pt x="54" y="21"/>
                      </a:cubicBezTo>
                      <a:cubicBezTo>
                        <a:pt x="43" y="8"/>
                        <a:pt x="37" y="0"/>
                        <a:pt x="2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77"/>
                        <a:pt x="0" y="177"/>
                        <a:pt x="0" y="17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" name="Freeform 30"/>
                <p:cNvSpPr>
                  <a:spLocks noEditPoints="1"/>
                </p:cNvSpPr>
                <p:nvPr/>
              </p:nvSpPr>
              <p:spPr bwMode="gray">
                <a:xfrm>
                  <a:off x="4456113" y="-1474788"/>
                  <a:ext cx="536575" cy="531813"/>
                </a:xfrm>
                <a:custGeom>
                  <a:avLst/>
                  <a:gdLst/>
                  <a:ahLst/>
                  <a:cxnLst>
                    <a:cxn ang="0">
                      <a:pos x="72" y="117"/>
                    </a:cxn>
                    <a:cxn ang="0">
                      <a:pos x="50" y="70"/>
                    </a:cxn>
                    <a:cxn ang="0">
                      <a:pos x="72" y="24"/>
                    </a:cxn>
                    <a:cxn ang="0">
                      <a:pos x="93" y="73"/>
                    </a:cxn>
                    <a:cxn ang="0">
                      <a:pos x="72" y="117"/>
                    </a:cxn>
                    <a:cxn ang="0">
                      <a:pos x="71" y="142"/>
                    </a:cxn>
                    <a:cxn ang="0">
                      <a:pos x="143" y="68"/>
                    </a:cxn>
                    <a:cxn ang="0">
                      <a:pos x="72" y="0"/>
                    </a:cxn>
                    <a:cxn ang="0">
                      <a:pos x="0" y="75"/>
                    </a:cxn>
                    <a:cxn ang="0">
                      <a:pos x="71" y="142"/>
                    </a:cxn>
                  </a:cxnLst>
                  <a:rect l="0" t="0" r="r" b="b"/>
                  <a:pathLst>
                    <a:path w="143" h="142">
                      <a:moveTo>
                        <a:pt x="72" y="117"/>
                      </a:moveTo>
                      <a:cubicBezTo>
                        <a:pt x="56" y="117"/>
                        <a:pt x="50" y="99"/>
                        <a:pt x="50" y="70"/>
                      </a:cubicBezTo>
                      <a:cubicBezTo>
                        <a:pt x="50" y="43"/>
                        <a:pt x="56" y="24"/>
                        <a:pt x="72" y="24"/>
                      </a:cubicBezTo>
                      <a:cubicBezTo>
                        <a:pt x="88" y="24"/>
                        <a:pt x="93" y="44"/>
                        <a:pt x="93" y="73"/>
                      </a:cubicBezTo>
                      <a:cubicBezTo>
                        <a:pt x="93" y="100"/>
                        <a:pt x="88" y="117"/>
                        <a:pt x="72" y="117"/>
                      </a:cubicBezTo>
                      <a:moveTo>
                        <a:pt x="71" y="142"/>
                      </a:moveTo>
                      <a:cubicBezTo>
                        <a:pt x="110" y="142"/>
                        <a:pt x="143" y="114"/>
                        <a:pt x="143" y="68"/>
                      </a:cubicBezTo>
                      <a:cubicBezTo>
                        <a:pt x="143" y="29"/>
                        <a:pt x="112" y="0"/>
                        <a:pt x="72" y="0"/>
                      </a:cubicBezTo>
                      <a:cubicBezTo>
                        <a:pt x="32" y="0"/>
                        <a:pt x="0" y="28"/>
                        <a:pt x="0" y="75"/>
                      </a:cubicBezTo>
                      <a:cubicBezTo>
                        <a:pt x="0" y="115"/>
                        <a:pt x="32" y="142"/>
                        <a:pt x="71" y="14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" name="Freeform 31"/>
                <p:cNvSpPr>
                  <a:spLocks noEditPoints="1"/>
                </p:cNvSpPr>
                <p:nvPr/>
              </p:nvSpPr>
              <p:spPr bwMode="gray">
                <a:xfrm>
                  <a:off x="5645151" y="-1474788"/>
                  <a:ext cx="506413" cy="531813"/>
                </a:xfrm>
                <a:custGeom>
                  <a:avLst/>
                  <a:gdLst/>
                  <a:ahLst/>
                  <a:cxnLst>
                    <a:cxn ang="0">
                      <a:pos x="47" y="55"/>
                    </a:cxn>
                    <a:cxn ang="0">
                      <a:pos x="69" y="22"/>
                    </a:cxn>
                    <a:cxn ang="0">
                      <a:pos x="91" y="55"/>
                    </a:cxn>
                    <a:cxn ang="0">
                      <a:pos x="47" y="55"/>
                    </a:cxn>
                    <a:cxn ang="0">
                      <a:pos x="134" y="74"/>
                    </a:cxn>
                    <a:cxn ang="0">
                      <a:pos x="135" y="58"/>
                    </a:cxn>
                    <a:cxn ang="0">
                      <a:pos x="70" y="0"/>
                    </a:cxn>
                    <a:cxn ang="0">
                      <a:pos x="0" y="71"/>
                    </a:cxn>
                    <a:cxn ang="0">
                      <a:pos x="68" y="142"/>
                    </a:cxn>
                    <a:cxn ang="0">
                      <a:pos x="127" y="99"/>
                    </a:cxn>
                    <a:cxn ang="0">
                      <a:pos x="88" y="109"/>
                    </a:cxn>
                    <a:cxn ang="0">
                      <a:pos x="47" y="74"/>
                    </a:cxn>
                    <a:cxn ang="0">
                      <a:pos x="134" y="74"/>
                    </a:cxn>
                  </a:cxnLst>
                  <a:rect l="0" t="0" r="r" b="b"/>
                  <a:pathLst>
                    <a:path w="135" h="142">
                      <a:moveTo>
                        <a:pt x="47" y="55"/>
                      </a:moveTo>
                      <a:cubicBezTo>
                        <a:pt x="48" y="35"/>
                        <a:pt x="56" y="22"/>
                        <a:pt x="69" y="22"/>
                      </a:cubicBezTo>
                      <a:cubicBezTo>
                        <a:pt x="88" y="22"/>
                        <a:pt x="91" y="55"/>
                        <a:pt x="91" y="55"/>
                      </a:cubicBezTo>
                      <a:cubicBezTo>
                        <a:pt x="47" y="55"/>
                        <a:pt x="47" y="55"/>
                        <a:pt x="47" y="55"/>
                      </a:cubicBezTo>
                      <a:close/>
                      <a:moveTo>
                        <a:pt x="134" y="74"/>
                      </a:moveTo>
                      <a:cubicBezTo>
                        <a:pt x="135" y="68"/>
                        <a:pt x="135" y="63"/>
                        <a:pt x="135" y="58"/>
                      </a:cubicBezTo>
                      <a:cubicBezTo>
                        <a:pt x="135" y="26"/>
                        <a:pt x="111" y="0"/>
                        <a:pt x="70" y="0"/>
                      </a:cubicBezTo>
                      <a:cubicBezTo>
                        <a:pt x="29" y="0"/>
                        <a:pt x="0" y="28"/>
                        <a:pt x="0" y="71"/>
                      </a:cubicBezTo>
                      <a:cubicBezTo>
                        <a:pt x="0" y="113"/>
                        <a:pt x="26" y="142"/>
                        <a:pt x="68" y="142"/>
                      </a:cubicBezTo>
                      <a:cubicBezTo>
                        <a:pt x="111" y="142"/>
                        <a:pt x="126" y="120"/>
                        <a:pt x="127" y="99"/>
                      </a:cubicBezTo>
                      <a:cubicBezTo>
                        <a:pt x="118" y="105"/>
                        <a:pt x="104" y="109"/>
                        <a:pt x="88" y="109"/>
                      </a:cubicBezTo>
                      <a:cubicBezTo>
                        <a:pt x="65" y="109"/>
                        <a:pt x="49" y="96"/>
                        <a:pt x="47" y="74"/>
                      </a:cubicBezTo>
                      <a:cubicBezTo>
                        <a:pt x="134" y="74"/>
                        <a:pt x="134" y="74"/>
                        <a:pt x="134" y="7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" name="Freeform 32"/>
                <p:cNvSpPr>
                  <a:spLocks noEditPoints="1"/>
                </p:cNvSpPr>
                <p:nvPr/>
              </p:nvSpPr>
              <p:spPr bwMode="gray">
                <a:xfrm>
                  <a:off x="5072063" y="-1666875"/>
                  <a:ext cx="509588" cy="712788"/>
                </a:xfrm>
                <a:custGeom>
                  <a:avLst/>
                  <a:gdLst/>
                  <a:ahLst/>
                  <a:cxnLst>
                    <a:cxn ang="0">
                      <a:pos x="54" y="167"/>
                    </a:cxn>
                    <a:cxn ang="0">
                      <a:pos x="46" y="167"/>
                    </a:cxn>
                    <a:cxn ang="0">
                      <a:pos x="46" y="80"/>
                    </a:cxn>
                    <a:cxn ang="0">
                      <a:pos x="57" y="79"/>
                    </a:cxn>
                    <a:cxn ang="0">
                      <a:pos x="88" y="117"/>
                    </a:cxn>
                    <a:cxn ang="0">
                      <a:pos x="54" y="167"/>
                    </a:cxn>
                    <a:cxn ang="0">
                      <a:pos x="82" y="52"/>
                    </a:cxn>
                    <a:cxn ang="0">
                      <a:pos x="46" y="65"/>
                    </a:cxn>
                    <a:cxn ang="0">
                      <a:pos x="46" y="28"/>
                    </a:cxn>
                    <a:cxn ang="0">
                      <a:pos x="17" y="0"/>
                    </a:cxn>
                    <a:cxn ang="0">
                      <a:pos x="0" y="0"/>
                    </a:cxn>
                    <a:cxn ang="0">
                      <a:pos x="0" y="190"/>
                    </a:cxn>
                    <a:cxn ang="0">
                      <a:pos x="55" y="190"/>
                    </a:cxn>
                    <a:cxn ang="0">
                      <a:pos x="136" y="112"/>
                    </a:cxn>
                    <a:cxn ang="0">
                      <a:pos x="82" y="52"/>
                    </a:cxn>
                  </a:cxnLst>
                  <a:rect l="0" t="0" r="r" b="b"/>
                  <a:pathLst>
                    <a:path w="136" h="190">
                      <a:moveTo>
                        <a:pt x="54" y="167"/>
                      </a:moveTo>
                      <a:cubicBezTo>
                        <a:pt x="46" y="167"/>
                        <a:pt x="46" y="167"/>
                        <a:pt x="46" y="167"/>
                      </a:cubicBezTo>
                      <a:cubicBezTo>
                        <a:pt x="46" y="80"/>
                        <a:pt x="46" y="80"/>
                        <a:pt x="46" y="80"/>
                      </a:cubicBezTo>
                      <a:cubicBezTo>
                        <a:pt x="49" y="79"/>
                        <a:pt x="52" y="79"/>
                        <a:pt x="57" y="79"/>
                      </a:cubicBezTo>
                      <a:cubicBezTo>
                        <a:pt x="74" y="79"/>
                        <a:pt x="88" y="95"/>
                        <a:pt x="88" y="117"/>
                      </a:cubicBezTo>
                      <a:cubicBezTo>
                        <a:pt x="88" y="150"/>
                        <a:pt x="76" y="167"/>
                        <a:pt x="54" y="167"/>
                      </a:cubicBezTo>
                      <a:close/>
                      <a:moveTo>
                        <a:pt x="82" y="52"/>
                      </a:moveTo>
                      <a:cubicBezTo>
                        <a:pt x="66" y="52"/>
                        <a:pt x="53" y="58"/>
                        <a:pt x="46" y="65"/>
                      </a:cubicBezTo>
                      <a:cubicBezTo>
                        <a:pt x="46" y="28"/>
                        <a:pt x="46" y="28"/>
                        <a:pt x="46" y="28"/>
                      </a:cubicBezTo>
                      <a:cubicBezTo>
                        <a:pt x="46" y="11"/>
                        <a:pt x="34" y="0"/>
                        <a:pt x="1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90"/>
                        <a:pt x="0" y="190"/>
                        <a:pt x="0" y="190"/>
                      </a:cubicBezTo>
                      <a:cubicBezTo>
                        <a:pt x="55" y="190"/>
                        <a:pt x="55" y="190"/>
                        <a:pt x="55" y="190"/>
                      </a:cubicBezTo>
                      <a:cubicBezTo>
                        <a:pt x="107" y="190"/>
                        <a:pt x="136" y="163"/>
                        <a:pt x="136" y="112"/>
                      </a:cubicBezTo>
                      <a:cubicBezTo>
                        <a:pt x="136" y="78"/>
                        <a:pt x="113" y="52"/>
                        <a:pt x="82" y="5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" name="Freeform 33"/>
                <p:cNvSpPr>
                  <a:spLocks/>
                </p:cNvSpPr>
                <p:nvPr/>
              </p:nvSpPr>
              <p:spPr bwMode="gray">
                <a:xfrm>
                  <a:off x="6223001" y="-1666875"/>
                  <a:ext cx="176213" cy="712788"/>
                </a:xfrm>
                <a:custGeom>
                  <a:avLst/>
                  <a:gdLst/>
                  <a:ahLst/>
                  <a:cxnLst>
                    <a:cxn ang="0">
                      <a:pos x="0" y="190"/>
                    </a:cxn>
                    <a:cxn ang="0">
                      <a:pos x="47" y="190"/>
                    </a:cxn>
                    <a:cxn ang="0">
                      <a:pos x="47" y="28"/>
                    </a:cxn>
                    <a:cxn ang="0">
                      <a:pos x="18" y="0"/>
                    </a:cxn>
                    <a:cxn ang="0">
                      <a:pos x="0" y="0"/>
                    </a:cxn>
                    <a:cxn ang="0">
                      <a:pos x="0" y="190"/>
                    </a:cxn>
                  </a:cxnLst>
                  <a:rect l="0" t="0" r="r" b="b"/>
                  <a:pathLst>
                    <a:path w="47" h="190">
                      <a:moveTo>
                        <a:pt x="0" y="190"/>
                      </a:moveTo>
                      <a:cubicBezTo>
                        <a:pt x="47" y="190"/>
                        <a:pt x="47" y="190"/>
                        <a:pt x="47" y="190"/>
                      </a:cubicBezTo>
                      <a:cubicBezTo>
                        <a:pt x="47" y="28"/>
                        <a:pt x="47" y="28"/>
                        <a:pt x="47" y="28"/>
                      </a:cubicBezTo>
                      <a:cubicBezTo>
                        <a:pt x="47" y="11"/>
                        <a:pt x="35" y="0"/>
                        <a:pt x="1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90"/>
                        <a:pt x="0" y="190"/>
                        <a:pt x="0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>
                    <a:solidFill>
                      <a:srgbClr val="000000"/>
                    </a:solidFill>
                  </a:endParaRPr>
                </a:p>
              </p:txBody>
            </p:sp>
          </p:grpSp>
        </p:grpSp>
        <p:sp>
          <p:nvSpPr>
            <p:cNvPr id="24" name="Rectangle 23"/>
            <p:cNvSpPr/>
            <p:nvPr/>
          </p:nvSpPr>
          <p:spPr bwMode="gray">
            <a:xfrm>
              <a:off x="2087597" y="1778925"/>
              <a:ext cx="7056403" cy="12717"/>
            </a:xfrm>
            <a:prstGeom prst="rect">
              <a:avLst/>
            </a:prstGeom>
            <a:solidFill>
              <a:srgbClr val="005095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81025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speaker">
    <p:bg bwMode="gray">
      <p:bgPr>
        <a:gradFill>
          <a:gsLst>
            <a:gs pos="10000">
              <a:srgbClr val="E4312C"/>
            </a:gs>
            <a:gs pos="90000">
              <a:srgbClr val="F18E0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hthoek 1"/>
          <p:cNvSpPr/>
          <p:nvPr/>
        </p:nvSpPr>
        <p:spPr bwMode="gray">
          <a:xfrm>
            <a:off x="352425" y="2084919"/>
            <a:ext cx="8439150" cy="2359263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nl-NL" sz="2400" dirty="0" err="1">
              <a:solidFill>
                <a:srgbClr val="FFFFFF"/>
              </a:solidFill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6476283" y="2084919"/>
            <a:ext cx="2315292" cy="2359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en-US" sz="2400" dirty="0" err="1">
              <a:solidFill>
                <a:srgbClr val="FFFFFF"/>
              </a:solidFill>
            </a:endParaRPr>
          </a:p>
        </p:txBody>
      </p:sp>
      <p:pic>
        <p:nvPicPr>
          <p:cNvPr id="43" name="Picture 42" descr="Portret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784329" y="2743463"/>
            <a:ext cx="1699200" cy="1699200"/>
          </a:xfrm>
          <a:prstGeom prst="rect">
            <a:avLst/>
          </a:prstGeom>
        </p:spPr>
      </p:pic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Title 52"/>
          <p:cNvSpPr>
            <a:spLocks noGrp="1"/>
          </p:cNvSpPr>
          <p:nvPr>
            <p:ph type="title" hasCustomPrompt="1"/>
          </p:nvPr>
        </p:nvSpPr>
        <p:spPr bwMode="gray">
          <a:xfrm>
            <a:off x="352425" y="2084919"/>
            <a:ext cx="6123858" cy="2359263"/>
          </a:xfrm>
        </p:spPr>
        <p:txBody>
          <a:bodyPr lIns="298800" tIns="118800" rIns="118800" bIns="93600" anchor="t" anchorCtr="0">
            <a:noAutofit/>
          </a:bodyPr>
          <a:lstStyle>
            <a:lvl1pPr>
              <a:lnSpc>
                <a:spcPct val="90000"/>
              </a:lnSpc>
              <a:defRPr sz="54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476283" y="2084919"/>
            <a:ext cx="2315292" cy="2359263"/>
          </a:xfrm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grpSp>
        <p:nvGrpSpPr>
          <p:cNvPr id="29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30" name="Freeform 29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5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6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8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4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6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7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8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9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71D7EE-025D-44EF-94E5-6C8AC9194795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369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7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39" grpId="0" animBg="1"/>
      <p:bldP spid="53" grpId="0"/>
      <p:bldP spid="4" grpId="0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 speakers">
    <p:bg bwMode="gray">
      <p:bgPr>
        <a:gradFill>
          <a:gsLst>
            <a:gs pos="10000">
              <a:srgbClr val="E4312C"/>
            </a:gs>
            <a:gs pos="90000">
              <a:srgbClr val="F18E0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69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Picture Placeholder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48933" y="1181099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55600" y="3057056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77" name="Picture Placeholder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2701856" y="1181099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78" name="Text Placeholder 5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505349" y="3057056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79" name="Picture Placeholder 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4854779" y="1181099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80" name="Text Placehold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658272" y="3057056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81" name="Picture Placeholder 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7007701" y="1181099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82" name="Text Placeholder 5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814368" y="3057056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0" name="Picture Placeholder 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48933" y="3708570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1" name="Text Placeholder 5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55600" y="5584527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2" name="Picture Placeholder 3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2701856" y="3708570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3" name="Text Placeholder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505349" y="5584525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4" name="Picture Placeholder 3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854779" y="3708570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5" name="Text Placeholder 5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658272" y="5584527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6" name="Picture Placeholder 3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7007701" y="3708570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7" name="Text Placeholder 5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814368" y="5584527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33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>
              <a:solidFill>
                <a:srgbClr val="FFFFFF"/>
              </a:solidFill>
            </a:endParaRP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34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71D7EE-025D-44EF-94E5-6C8AC9194795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grpSp>
        <p:nvGrpSpPr>
          <p:cNvPr id="32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33" name="Freeform 32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4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5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6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8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9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0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1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2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3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426535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lide Option 1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/>
          <p:cNvSpPr/>
          <p:nvPr/>
        </p:nvSpPr>
        <p:spPr bwMode="gray">
          <a:xfrm>
            <a:off x="-1" y="-2"/>
            <a:ext cx="9144001" cy="1291169"/>
          </a:xfrm>
          <a:prstGeom prst="rect">
            <a:avLst/>
          </a:prstGeom>
          <a:gradFill>
            <a:gsLst>
              <a:gs pos="10000">
                <a:srgbClr val="E4312C"/>
              </a:gs>
              <a:gs pos="90000">
                <a:srgbClr val="F18E00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en-GB" sz="2400" dirty="0" err="1">
              <a:solidFill>
                <a:srgbClr val="FFFFFF"/>
              </a:solidFill>
            </a:endParaRPr>
          </a:p>
        </p:txBody>
      </p:sp>
      <p:sp>
        <p:nvSpPr>
          <p:cNvPr id="83" name="Text Placeholder 82"/>
          <p:cNvSpPr>
            <a:spLocks noGrp="1"/>
          </p:cNvSpPr>
          <p:nvPr>
            <p:ph type="body" sz="quarter" idx="25"/>
          </p:nvPr>
        </p:nvSpPr>
        <p:spPr bwMode="gray">
          <a:xfrm>
            <a:off x="358777" y="5195149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4" name="Text Placeholder 9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52427" y="5195149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80" name="Text Placeholder 79"/>
          <p:cNvSpPr>
            <a:spLocks noGrp="1"/>
          </p:cNvSpPr>
          <p:nvPr>
            <p:ph type="body" sz="quarter" idx="23"/>
          </p:nvPr>
        </p:nvSpPr>
        <p:spPr bwMode="gray">
          <a:xfrm>
            <a:off x="358777" y="4266846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3" name="Text Placeholder 92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52427" y="4266846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77" name="Text Placeholder 76"/>
          <p:cNvSpPr>
            <a:spLocks noGrp="1"/>
          </p:cNvSpPr>
          <p:nvPr>
            <p:ph type="body" sz="quarter" idx="21"/>
          </p:nvPr>
        </p:nvSpPr>
        <p:spPr bwMode="gray">
          <a:xfrm>
            <a:off x="358777" y="3338543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2" name="Text Placeholder 91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52427" y="3338543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74" name="Text Placeholder 73"/>
          <p:cNvSpPr>
            <a:spLocks noGrp="1"/>
          </p:cNvSpPr>
          <p:nvPr>
            <p:ph type="body" sz="quarter" idx="19"/>
          </p:nvPr>
        </p:nvSpPr>
        <p:spPr bwMode="gray">
          <a:xfrm>
            <a:off x="358777" y="2410241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1" name="Text Placeholder 90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52427" y="2410241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8"/>
          </p:nvPr>
        </p:nvSpPr>
        <p:spPr bwMode="gray">
          <a:xfrm>
            <a:off x="358777" y="1481938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Text Placeholder 88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52427" y="1481938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39" name="Picture Placeholder 3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84055" y="1610296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76" name="Picture Placeholder 7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84055" y="2538599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79" name="Picture Placeholder 78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84055" y="3466902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82" name="Picture Placeholder 81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84055" y="4395205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85" name="Picture Placeholder 8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884055" y="5323507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/>
          <a:p>
            <a:fld id="{8271D7EE-025D-44EF-94E5-6C8AC9194795}" type="slidenum">
              <a:rPr lang="en-GB"/>
              <a:pPr/>
              <a:t>‹#›</a:t>
            </a:fld>
            <a:endParaRPr lang="en-GB"/>
          </a:p>
        </p:txBody>
      </p:sp>
      <p:grpSp>
        <p:nvGrpSpPr>
          <p:cNvPr id="33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47" name="Freeform 46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8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9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0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1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2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3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4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5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6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30145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2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1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9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lide Option 2">
    <p:bg bwMode="gray">
      <p:bgPr>
        <a:solidFill>
          <a:srgbClr val="D9D9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10"/>
          <p:cNvSpPr/>
          <p:nvPr/>
        </p:nvSpPr>
        <p:spPr bwMode="gray">
          <a:xfrm>
            <a:off x="2" y="0"/>
            <a:ext cx="9143999" cy="5798136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40000"/>
                </a:schemeClr>
              </a:gs>
              <a:gs pos="54000">
                <a:schemeClr val="bg1">
                  <a:alpha val="0"/>
                </a:schemeClr>
              </a:gs>
              <a:gs pos="10000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000000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4" name="Text Placeholder 82"/>
          <p:cNvSpPr>
            <a:spLocks noGrp="1"/>
          </p:cNvSpPr>
          <p:nvPr>
            <p:ph type="body" sz="quarter" idx="25"/>
          </p:nvPr>
        </p:nvSpPr>
        <p:spPr bwMode="gray">
          <a:xfrm>
            <a:off x="358775" y="5194213"/>
            <a:ext cx="8431200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FFFFFF">
              <a:alpha val="90000"/>
            </a:srgbClr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Text Placeholder 9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52427" y="5194213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44" name="Text Placeholder 79"/>
          <p:cNvSpPr>
            <a:spLocks noGrp="1"/>
          </p:cNvSpPr>
          <p:nvPr>
            <p:ph type="body" sz="quarter" idx="23"/>
          </p:nvPr>
        </p:nvSpPr>
        <p:spPr bwMode="gray">
          <a:xfrm>
            <a:off x="358775" y="4265910"/>
            <a:ext cx="8431200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FFFFFF">
              <a:alpha val="90000"/>
            </a:srgbClr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Text Placeholder 92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52427" y="4265910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46" name="Text Placeholder 76"/>
          <p:cNvSpPr>
            <a:spLocks noGrp="1"/>
          </p:cNvSpPr>
          <p:nvPr>
            <p:ph type="body" sz="quarter" idx="21"/>
          </p:nvPr>
        </p:nvSpPr>
        <p:spPr bwMode="gray">
          <a:xfrm>
            <a:off x="358775" y="3337607"/>
            <a:ext cx="8431200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FFFFFF">
              <a:alpha val="90000"/>
            </a:srgbClr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7" name="Text Placeholder 91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52427" y="3337607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48" name="Text Placeholder 73"/>
          <p:cNvSpPr>
            <a:spLocks noGrp="1"/>
          </p:cNvSpPr>
          <p:nvPr>
            <p:ph type="body" sz="quarter" idx="19"/>
          </p:nvPr>
        </p:nvSpPr>
        <p:spPr bwMode="gray">
          <a:xfrm>
            <a:off x="358775" y="2409305"/>
            <a:ext cx="8431200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FFFFFF">
              <a:alpha val="90000"/>
            </a:srgbClr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9" name="Text Placeholder 90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52427" y="2409305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50" name="Text Placeholder 40"/>
          <p:cNvSpPr>
            <a:spLocks noGrp="1"/>
          </p:cNvSpPr>
          <p:nvPr>
            <p:ph type="body" sz="quarter" idx="18"/>
          </p:nvPr>
        </p:nvSpPr>
        <p:spPr bwMode="gray">
          <a:xfrm>
            <a:off x="358775" y="1481002"/>
            <a:ext cx="8431200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FFFFFF">
              <a:alpha val="90000"/>
            </a:srgbClr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1" name="Text Placeholder 88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52427" y="1481002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52" name="Picture Placeholder 3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84055" y="1609360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3" name="Picture Placeholder 7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84055" y="2537663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5" name="Picture Placeholder 78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84055" y="3465966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6" name="Picture Placeholder 81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84055" y="4394269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7" name="Picture Placeholder 8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884055" y="5322571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71D7EE-025D-44EF-94E5-6C8AC9194795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grpSp>
        <p:nvGrpSpPr>
          <p:cNvPr id="35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36" name="Freeform 35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7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8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9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0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1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2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4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8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9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60" name="Rectangle 59"/>
          <p:cNvSpPr/>
          <p:nvPr/>
        </p:nvSpPr>
        <p:spPr bwMode="gray">
          <a:xfrm>
            <a:off x="9288780" y="182684"/>
            <a:ext cx="1501140" cy="118760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Insert image via</a:t>
            </a:r>
          </a:p>
          <a:p>
            <a:r>
              <a:rPr lang="en-US" sz="900" dirty="0">
                <a:solidFill>
                  <a:srgbClr val="000000"/>
                </a:solidFill>
              </a:rPr>
              <a:t>Format Background &gt; Picture or texture fill &gt;</a:t>
            </a:r>
          </a:p>
          <a:p>
            <a:r>
              <a:rPr lang="en-US" sz="900" dirty="0">
                <a:solidFill>
                  <a:srgbClr val="000000"/>
                </a:solidFill>
              </a:rPr>
              <a:t>Click “File” to browse to your image</a:t>
            </a:r>
          </a:p>
          <a:p>
            <a:r>
              <a:rPr lang="en-US" sz="900" dirty="0">
                <a:solidFill>
                  <a:srgbClr val="000000"/>
                </a:solidFill>
              </a:rPr>
              <a:t>Make sure </a:t>
            </a:r>
            <a:r>
              <a:rPr lang="en-US" sz="900" i="1" dirty="0">
                <a:solidFill>
                  <a:srgbClr val="000000"/>
                </a:solidFill>
              </a:rPr>
              <a:t>“Tile picture as texture”</a:t>
            </a:r>
            <a:r>
              <a:rPr lang="en-US" sz="900" dirty="0">
                <a:solidFill>
                  <a:srgbClr val="000000"/>
                </a:solidFill>
              </a:rPr>
              <a:t> is ticked</a:t>
            </a:r>
          </a:p>
        </p:txBody>
      </p:sp>
    </p:spTree>
    <p:extLst>
      <p:ext uri="{BB962C8B-B14F-4D97-AF65-F5344CB8AC3E}">
        <p14:creationId xmlns:p14="http://schemas.microsoft.com/office/powerpoint/2010/main" val="2268102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/>
      <p:bldP spid="53" grpId="0"/>
      <p:bldP spid="55" grpId="0"/>
      <p:bldP spid="56" grpId="0"/>
      <p:bldP spid="57" grpId="0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119562" y="6358645"/>
            <a:ext cx="385200" cy="3852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Footer Placeholder 36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38" name="Slide Number Placeholder 37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271D7EE-025D-44EF-94E5-6C8AC9194795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gray">
          <a:xfrm>
            <a:off x="352426" y="1298829"/>
            <a:ext cx="84384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6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62186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8271D7EE-025D-44EF-94E5-6C8AC9194795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1298829"/>
            <a:ext cx="4140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4651575" y="1298829"/>
            <a:ext cx="4140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8645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98400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8271D7EE-025D-44EF-94E5-6C8AC9194795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1298829"/>
            <a:ext cx="271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3213000" y="1298829"/>
            <a:ext cx="271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6"/>
          <p:cNvSpPr>
            <a:spLocks noGrp="1"/>
          </p:cNvSpPr>
          <p:nvPr>
            <p:ph sz="quarter" idx="20"/>
          </p:nvPr>
        </p:nvSpPr>
        <p:spPr bwMode="gray">
          <a:xfrm>
            <a:off x="6073575" y="1298829"/>
            <a:ext cx="271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553884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8271D7EE-025D-44EF-94E5-6C8AC9194795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249947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6"/>
          <p:cNvSpPr>
            <a:spLocks noGrp="1"/>
          </p:cNvSpPr>
          <p:nvPr>
            <p:ph sz="quarter" idx="20"/>
          </p:nvPr>
        </p:nvSpPr>
        <p:spPr bwMode="gray">
          <a:xfrm>
            <a:off x="464652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6"/>
          <p:cNvSpPr>
            <a:spLocks noGrp="1"/>
          </p:cNvSpPr>
          <p:nvPr>
            <p:ph sz="quarter" idx="21"/>
          </p:nvPr>
        </p:nvSpPr>
        <p:spPr bwMode="gray">
          <a:xfrm>
            <a:off x="679357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25467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lide Option 1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/>
          <p:cNvSpPr/>
          <p:nvPr/>
        </p:nvSpPr>
        <p:spPr bwMode="gray">
          <a:xfrm>
            <a:off x="-1" y="-2"/>
            <a:ext cx="9144001" cy="1291169"/>
          </a:xfrm>
          <a:prstGeom prst="rect">
            <a:avLst/>
          </a:prstGeom>
          <a:gradFill>
            <a:gsLst>
              <a:gs pos="10000">
                <a:srgbClr val="E4312C"/>
              </a:gs>
              <a:gs pos="90000">
                <a:srgbClr val="F18E00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GB" sz="2400" dirty="0" err="1"/>
          </a:p>
        </p:txBody>
      </p:sp>
      <p:sp>
        <p:nvSpPr>
          <p:cNvPr id="83" name="Text Placeholder 82"/>
          <p:cNvSpPr>
            <a:spLocks noGrp="1"/>
          </p:cNvSpPr>
          <p:nvPr>
            <p:ph type="body" sz="quarter" idx="25"/>
          </p:nvPr>
        </p:nvSpPr>
        <p:spPr bwMode="gray">
          <a:xfrm>
            <a:off x="358777" y="5195149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4" name="Text Placeholder 9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52427" y="5195149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80" name="Text Placeholder 79"/>
          <p:cNvSpPr>
            <a:spLocks noGrp="1"/>
          </p:cNvSpPr>
          <p:nvPr>
            <p:ph type="body" sz="quarter" idx="23"/>
          </p:nvPr>
        </p:nvSpPr>
        <p:spPr bwMode="gray">
          <a:xfrm>
            <a:off x="358777" y="4266846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3" name="Text Placeholder 92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52427" y="4266846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77" name="Text Placeholder 76"/>
          <p:cNvSpPr>
            <a:spLocks noGrp="1"/>
          </p:cNvSpPr>
          <p:nvPr>
            <p:ph type="body" sz="quarter" idx="21"/>
          </p:nvPr>
        </p:nvSpPr>
        <p:spPr bwMode="gray">
          <a:xfrm>
            <a:off x="358777" y="3338543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2" name="Text Placeholder 91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52427" y="3338543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74" name="Text Placeholder 73"/>
          <p:cNvSpPr>
            <a:spLocks noGrp="1"/>
          </p:cNvSpPr>
          <p:nvPr>
            <p:ph type="body" sz="quarter" idx="19"/>
          </p:nvPr>
        </p:nvSpPr>
        <p:spPr bwMode="gray">
          <a:xfrm>
            <a:off x="358777" y="2410241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1" name="Text Placeholder 90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52427" y="2410241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8"/>
          </p:nvPr>
        </p:nvSpPr>
        <p:spPr bwMode="gray">
          <a:xfrm>
            <a:off x="358777" y="1481938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Text Placeholder 88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52427" y="1481938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39" name="Picture Placeholder 3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84055" y="1610296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76" name="Picture Placeholder 7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84055" y="2538599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79" name="Picture Placeholder 78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84055" y="3466902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82" name="Picture Placeholder 81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84055" y="4395205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85" name="Picture Placeholder 8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884055" y="5323507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3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47" name="Freeform 46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3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4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19442751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2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1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9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8271D7EE-025D-44EF-94E5-6C8AC9194795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1298829"/>
            <a:ext cx="4140000" cy="225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4651575" y="1298829"/>
            <a:ext cx="4140000" cy="225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8645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16"/>
          <p:cNvSpPr>
            <a:spLocks noGrp="1"/>
          </p:cNvSpPr>
          <p:nvPr>
            <p:ph sz="quarter" idx="22"/>
          </p:nvPr>
        </p:nvSpPr>
        <p:spPr bwMode="gray">
          <a:xfrm>
            <a:off x="352425" y="3746495"/>
            <a:ext cx="4140000" cy="225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6"/>
          <p:cNvSpPr>
            <a:spLocks noGrp="1"/>
          </p:cNvSpPr>
          <p:nvPr>
            <p:ph sz="quarter" idx="23"/>
          </p:nvPr>
        </p:nvSpPr>
        <p:spPr bwMode="gray">
          <a:xfrm>
            <a:off x="4651575" y="3746495"/>
            <a:ext cx="4140000" cy="225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77128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Quad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gray">
          <a:xfrm>
            <a:off x="0" y="0"/>
            <a:ext cx="9144000" cy="6858000"/>
            <a:chOff x="0" y="0"/>
            <a:chExt cx="9144000" cy="5143500"/>
          </a:xfrm>
        </p:grpSpPr>
        <p:sp>
          <p:nvSpPr>
            <p:cNvPr id="20" name="Rectangle 19"/>
            <p:cNvSpPr/>
            <p:nvPr/>
          </p:nvSpPr>
          <p:spPr bwMode="gray">
            <a:xfrm>
              <a:off x="4500000" y="0"/>
              <a:ext cx="144001" cy="51435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GB" sz="2400" dirty="0" err="1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0" y="2499750"/>
              <a:ext cx="9144000" cy="144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GB" sz="24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5" name="Picture Placeholder 4"/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4500000" cy="3331200"/>
          </a:xfrm>
          <a:solidFill>
            <a:schemeClr val="bg1">
              <a:lumMod val="95000"/>
            </a:schemeClr>
          </a:solidFill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23"/>
          </p:nvPr>
        </p:nvSpPr>
        <p:spPr>
          <a:xfrm>
            <a:off x="4644000" y="0"/>
            <a:ext cx="4500000" cy="3331200"/>
          </a:xfrm>
          <a:solidFill>
            <a:schemeClr val="bg1">
              <a:lumMod val="95000"/>
            </a:schemeClr>
          </a:solidFill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24"/>
          </p:nvPr>
        </p:nvSpPr>
        <p:spPr>
          <a:xfrm>
            <a:off x="0" y="3526800"/>
            <a:ext cx="4500000" cy="3331200"/>
          </a:xfrm>
          <a:solidFill>
            <a:schemeClr val="bg1">
              <a:lumMod val="95000"/>
            </a:schemeClr>
          </a:solidFill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25"/>
          </p:nvPr>
        </p:nvSpPr>
        <p:spPr>
          <a:xfrm>
            <a:off x="4644000" y="3526800"/>
            <a:ext cx="4500000" cy="3331200"/>
          </a:xfrm>
          <a:solidFill>
            <a:schemeClr val="bg1">
              <a:lumMod val="95000"/>
            </a:schemeClr>
          </a:solidFill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6"/>
          </p:nvPr>
        </p:nvSpPr>
        <p:spPr>
          <a:xfrm>
            <a:off x="0" y="1"/>
            <a:ext cx="4500000" cy="1271136"/>
          </a:xfrm>
        </p:spPr>
        <p:txBody>
          <a:bodyPr lIns="180000" tIns="180000" rIns="180000" bIns="180000">
            <a:spAutoFit/>
          </a:bodyPr>
          <a:lstStyle>
            <a:lvl1pPr>
              <a:defRPr b="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4644000" y="1"/>
            <a:ext cx="4500000" cy="1271136"/>
          </a:xfrm>
        </p:spPr>
        <p:txBody>
          <a:bodyPr lIns="180000" tIns="180000" rIns="180000" bIns="180000">
            <a:spAutoFit/>
          </a:bodyPr>
          <a:lstStyle>
            <a:lvl1pPr>
              <a:defRPr b="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0" y="3526801"/>
            <a:ext cx="4500000" cy="1271136"/>
          </a:xfrm>
        </p:spPr>
        <p:txBody>
          <a:bodyPr lIns="180000" tIns="180000" rIns="180000" bIns="180000">
            <a:spAutoFit/>
          </a:bodyPr>
          <a:lstStyle>
            <a:lvl1pPr>
              <a:defRPr b="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4644000" y="3526801"/>
            <a:ext cx="4500000" cy="1271136"/>
          </a:xfrm>
        </p:spPr>
        <p:txBody>
          <a:bodyPr lIns="180000" tIns="180000" rIns="180000" bIns="180000">
            <a:spAutoFit/>
          </a:bodyPr>
          <a:lstStyle>
            <a:lvl1pPr>
              <a:defRPr b="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15" name="Group 14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16" name="Rectangle 15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b="1" dirty="0">
                  <a:solidFill>
                    <a:srgbClr val="000000"/>
                  </a:solidFill>
                </a:rPr>
                <a:t>Crop picture</a:t>
              </a:r>
            </a:p>
            <a:p>
              <a:r>
                <a:rPr lang="en-US" sz="900" dirty="0">
                  <a:solidFill>
                    <a:srgbClr val="000000"/>
                  </a:solidFill>
                </a:rPr>
                <a:t>Select picture &gt; click on tab “Picture Tools &gt; Format”</a:t>
              </a: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Click on the icon </a:t>
              </a:r>
              <a:br>
                <a:rPr lang="en-US" sz="900" dirty="0">
                  <a:solidFill>
                    <a:srgbClr val="000000"/>
                  </a:solidFill>
                </a:rPr>
              </a:br>
              <a:r>
                <a:rPr lang="en-US" sz="900" dirty="0">
                  <a:solidFill>
                    <a:srgbClr val="000000"/>
                  </a:solidFill>
                </a:rPr>
                <a:t>above “Crop”</a:t>
              </a:r>
            </a:p>
            <a:p>
              <a:endParaRPr lang="en-US" sz="900" dirty="0">
                <a:solidFill>
                  <a:srgbClr val="000000"/>
                </a:solidFill>
              </a:endParaRPr>
            </a:p>
            <a:p>
              <a:r>
                <a:rPr lang="en-US" sz="900" dirty="0">
                  <a:solidFill>
                    <a:srgbClr val="000000"/>
                  </a:solidFill>
                </a:rPr>
                <a:t>You will see crop and scale markers on the corners</a:t>
              </a:r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28" name="Rectangle 27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30" name="Straight Arrow Connector 29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>
              <a:stCxn id="18" idx="0"/>
              <a:endCxn id="18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>
              <a:stCxn id="18" idx="3"/>
              <a:endCxn id="18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Oval 33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</p:grpSp>
      <p:grpSp>
        <p:nvGrpSpPr>
          <p:cNvPr id="35" name="Group 34"/>
          <p:cNvGrpSpPr/>
          <p:nvPr userDrawn="1"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36" name="Rectangle 35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b="1" dirty="0">
                  <a:solidFill>
                    <a:srgbClr val="000000"/>
                  </a:solidFill>
                </a:rPr>
                <a:t>Crop picture</a:t>
              </a:r>
            </a:p>
            <a:p>
              <a:r>
                <a:rPr lang="en-US" sz="900" dirty="0">
                  <a:solidFill>
                    <a:srgbClr val="000000"/>
                  </a:solidFill>
                </a:rPr>
                <a:t>Select picture &gt; click on tab “Picture Tools &gt; Format”</a:t>
              </a: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Click on the icon </a:t>
              </a:r>
              <a:br>
                <a:rPr lang="en-US" sz="900" dirty="0">
                  <a:solidFill>
                    <a:srgbClr val="000000"/>
                  </a:solidFill>
                </a:rPr>
              </a:br>
              <a:r>
                <a:rPr lang="en-US" sz="900" dirty="0">
                  <a:solidFill>
                    <a:srgbClr val="000000"/>
                  </a:solidFill>
                </a:rPr>
                <a:t>above “Crop”</a:t>
              </a:r>
            </a:p>
            <a:p>
              <a:endParaRPr lang="en-US" sz="900" dirty="0">
                <a:solidFill>
                  <a:srgbClr val="000000"/>
                </a:solidFill>
              </a:endParaRPr>
            </a:p>
            <a:p>
              <a:r>
                <a:rPr lang="en-US" sz="900" dirty="0">
                  <a:solidFill>
                    <a:srgbClr val="000000"/>
                  </a:solidFill>
                </a:rPr>
                <a:t>You will see crop and scale markers on the corners</a:t>
              </a:r>
            </a:p>
          </p:txBody>
        </p:sp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43" name="Rectangle 42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45" name="Straight Arrow Connector 44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>
              <a:stCxn id="18" idx="0"/>
              <a:endCxn id="18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>
              <a:stCxn id="18" idx="3"/>
              <a:endCxn id="18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Oval 48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716347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">
    <p:bg bwMode="gray">
      <p:bgPr>
        <a:gradFill>
          <a:gsLst>
            <a:gs pos="10000">
              <a:srgbClr val="E4312C"/>
            </a:gs>
            <a:gs pos="90000">
              <a:srgbClr val="F18E0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6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71D7EE-025D-44EF-94E5-6C8AC9194795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>
              <a:solidFill>
                <a:srgbClr val="FFFFFF"/>
              </a:solidFill>
            </a:endParaRPr>
          </a:p>
        </p:txBody>
      </p:sp>
      <p:grpSp>
        <p:nvGrpSpPr>
          <p:cNvPr id="66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67" name="Freeform 66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8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9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0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1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2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3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5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6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1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52425" y="1260883"/>
            <a:ext cx="8439150" cy="480336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bg1"/>
                </a:solidFill>
              </a:defRPr>
            </a:lvl1pPr>
            <a:lvl2pPr marL="719138" indent="-719138">
              <a:lnSpc>
                <a:spcPct val="90000"/>
              </a:lnSpc>
              <a:spcBef>
                <a:spcPts val="0"/>
              </a:spcBef>
              <a:buFontTx/>
              <a:buBlip>
                <a:blip r:embed="rId6"/>
              </a:buBlip>
              <a:defRPr sz="5400" b="1">
                <a:solidFill>
                  <a:schemeClr val="bg1"/>
                </a:solidFill>
              </a:defRPr>
            </a:lvl2pPr>
            <a:lvl3pPr marL="1255713" indent="-536575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5400" b="1">
                <a:solidFill>
                  <a:schemeClr val="bg1"/>
                </a:solidFill>
              </a:defRPr>
            </a:lvl3pPr>
            <a:lvl4pPr marL="1792288" indent="-534988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5400" b="1">
                <a:solidFill>
                  <a:schemeClr val="bg1"/>
                </a:solidFill>
              </a:defRPr>
            </a:lvl4pPr>
            <a:lvl5pPr marL="2328863" indent="-534988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5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Rectangle 17"/>
          <p:cNvSpPr/>
          <p:nvPr/>
        </p:nvSpPr>
        <p:spPr bwMode="gray">
          <a:xfrm>
            <a:off x="-1591365" y="1405512"/>
            <a:ext cx="1531557" cy="180249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8000" bIns="108000" rtlCol="0" anchor="b" anchorCtr="0">
            <a:no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AkzoNobel Bullets</a:t>
            </a:r>
            <a:endParaRPr lang="en-US" sz="900" b="1" dirty="0">
              <a:solidFill>
                <a:srgbClr val="000000"/>
              </a:solidFill>
            </a:endParaRPr>
          </a:p>
          <a:p>
            <a:r>
              <a:rPr lang="en-US" sz="900">
                <a:solidFill>
                  <a:srgbClr val="000000"/>
                </a:solidFill>
              </a:rPr>
              <a:t>Only use the </a:t>
            </a:r>
            <a:r>
              <a:rPr lang="en-US" sz="900" u="sng">
                <a:solidFill>
                  <a:srgbClr val="000000"/>
                </a:solidFill>
              </a:rPr>
              <a:t>List Level buttons</a:t>
            </a:r>
            <a:r>
              <a:rPr lang="en-US" sz="900">
                <a:solidFill>
                  <a:srgbClr val="000000"/>
                </a:solidFill>
              </a:rPr>
              <a:t> to apply the AkzoNobel Branded Bullets</a:t>
            </a:r>
            <a:endParaRPr lang="en-US" sz="900" dirty="0">
              <a:solidFill>
                <a:srgbClr val="000000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 bwMode="gray">
          <a:xfrm>
            <a:off x="-1493181" y="1531453"/>
            <a:ext cx="1335187" cy="795026"/>
            <a:chOff x="-1573454" y="1531453"/>
            <a:chExt cx="1335187" cy="795026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7" cstate="print"/>
            <a:srcRect l="18732" t="14956" r="50206" b="52163"/>
            <a:stretch>
              <a:fillRect/>
            </a:stretch>
          </p:blipFill>
          <p:spPr bwMode="gray">
            <a:xfrm>
              <a:off x="-1573454" y="1531453"/>
              <a:ext cx="1335187" cy="795026"/>
            </a:xfrm>
            <a:custGeom>
              <a:avLst/>
              <a:gdLst>
                <a:gd name="connsiteX0" fmla="*/ 0 w 2840306"/>
                <a:gd name="connsiteY0" fmla="*/ 0 h 1691236"/>
                <a:gd name="connsiteX1" fmla="*/ 2840306 w 2840306"/>
                <a:gd name="connsiteY1" fmla="*/ 0 h 1691236"/>
                <a:gd name="connsiteX2" fmla="*/ 2840306 w 2840306"/>
                <a:gd name="connsiteY2" fmla="*/ 1691236 h 1691236"/>
                <a:gd name="connsiteX3" fmla="*/ 0 w 2840306"/>
                <a:gd name="connsiteY3" fmla="*/ 1691236 h 169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0306" h="1691236">
                  <a:moveTo>
                    <a:pt x="0" y="0"/>
                  </a:moveTo>
                  <a:lnTo>
                    <a:pt x="2840306" y="0"/>
                  </a:lnTo>
                  <a:lnTo>
                    <a:pt x="2840306" y="1691236"/>
                  </a:lnTo>
                  <a:lnTo>
                    <a:pt x="0" y="1691236"/>
                  </a:lnTo>
                  <a:close/>
                </a:path>
              </a:pathLst>
            </a:custGeom>
          </p:spPr>
        </p:pic>
        <p:sp>
          <p:nvSpPr>
            <p:cNvPr id="21" name="Multiply 20"/>
            <p:cNvSpPr/>
            <p:nvPr/>
          </p:nvSpPr>
          <p:spPr bwMode="gray">
            <a:xfrm>
              <a:off x="-1571627" y="1551174"/>
              <a:ext cx="245272" cy="245272"/>
            </a:xfrm>
            <a:prstGeom prst="mathMultiply">
              <a:avLst>
                <a:gd name="adj1" fmla="val 8315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GB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22" name="Rectangle 21"/>
          <p:cNvSpPr/>
          <p:nvPr userDrawn="1"/>
        </p:nvSpPr>
        <p:spPr bwMode="gray">
          <a:xfrm>
            <a:off x="-1591365" y="1405512"/>
            <a:ext cx="1531557" cy="180249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8000" bIns="108000" rtlCol="0" anchor="b" anchorCtr="0">
            <a:no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AkzoNobel Bullets</a:t>
            </a:r>
            <a:endParaRPr lang="en-US" sz="900" b="1" dirty="0">
              <a:solidFill>
                <a:srgbClr val="000000"/>
              </a:solidFill>
            </a:endParaRPr>
          </a:p>
          <a:p>
            <a:r>
              <a:rPr lang="en-US" sz="900">
                <a:solidFill>
                  <a:srgbClr val="000000"/>
                </a:solidFill>
              </a:rPr>
              <a:t>Only use the </a:t>
            </a:r>
            <a:r>
              <a:rPr lang="en-US" sz="900" u="sng">
                <a:solidFill>
                  <a:srgbClr val="000000"/>
                </a:solidFill>
              </a:rPr>
              <a:t>List Level buttons</a:t>
            </a:r>
            <a:r>
              <a:rPr lang="en-US" sz="900">
                <a:solidFill>
                  <a:srgbClr val="000000"/>
                </a:solidFill>
              </a:rPr>
              <a:t> to apply the AkzoNobel Branded Bullets</a:t>
            </a:r>
            <a:endParaRPr lang="en-US" sz="900" dirty="0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 bwMode="gray">
          <a:xfrm>
            <a:off x="-1493181" y="1531453"/>
            <a:ext cx="1335187" cy="795026"/>
            <a:chOff x="-1573454" y="1531453"/>
            <a:chExt cx="1335187" cy="795026"/>
          </a:xfrm>
        </p:grpSpPr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7" cstate="print"/>
            <a:srcRect l="18732" t="14956" r="50206" b="52163"/>
            <a:stretch>
              <a:fillRect/>
            </a:stretch>
          </p:blipFill>
          <p:spPr bwMode="gray">
            <a:xfrm>
              <a:off x="-1573454" y="1531453"/>
              <a:ext cx="1335187" cy="795026"/>
            </a:xfrm>
            <a:custGeom>
              <a:avLst/>
              <a:gdLst>
                <a:gd name="connsiteX0" fmla="*/ 0 w 2840306"/>
                <a:gd name="connsiteY0" fmla="*/ 0 h 1691236"/>
                <a:gd name="connsiteX1" fmla="*/ 2840306 w 2840306"/>
                <a:gd name="connsiteY1" fmla="*/ 0 h 1691236"/>
                <a:gd name="connsiteX2" fmla="*/ 2840306 w 2840306"/>
                <a:gd name="connsiteY2" fmla="*/ 1691236 h 1691236"/>
                <a:gd name="connsiteX3" fmla="*/ 0 w 2840306"/>
                <a:gd name="connsiteY3" fmla="*/ 1691236 h 169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0306" h="1691236">
                  <a:moveTo>
                    <a:pt x="0" y="0"/>
                  </a:moveTo>
                  <a:lnTo>
                    <a:pt x="2840306" y="0"/>
                  </a:lnTo>
                  <a:lnTo>
                    <a:pt x="2840306" y="1691236"/>
                  </a:lnTo>
                  <a:lnTo>
                    <a:pt x="0" y="1691236"/>
                  </a:lnTo>
                  <a:close/>
                </a:path>
              </a:pathLst>
            </a:custGeom>
          </p:spPr>
        </p:pic>
        <p:sp>
          <p:nvSpPr>
            <p:cNvPr id="25" name="Multiply 24"/>
            <p:cNvSpPr/>
            <p:nvPr/>
          </p:nvSpPr>
          <p:spPr bwMode="gray">
            <a:xfrm>
              <a:off x="-1571627" y="1551174"/>
              <a:ext cx="245272" cy="245272"/>
            </a:xfrm>
            <a:prstGeom prst="mathMultiply">
              <a:avLst>
                <a:gd name="adj1" fmla="val 8315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GB" dirty="0" err="1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100542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Header 1, white logo"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72" name="Freeform 71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5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6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7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8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9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80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81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70" name="Picture Placeholder 69"/>
          <p:cNvSpPr>
            <a:spLocks noGrp="1"/>
          </p:cNvSpPr>
          <p:nvPr>
            <p:ph type="pic" sz="quarter" idx="17"/>
          </p:nvPr>
        </p:nvSpPr>
        <p:spPr bwMode="gray">
          <a:xfrm>
            <a:off x="0" y="-12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7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7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7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7" y="411834"/>
                  <a:pt x="6563877" y="411834"/>
                  <a:pt x="6563877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360000" y="334800"/>
            <a:ext cx="5688000" cy="600710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  <p:grpSp>
        <p:nvGrpSpPr>
          <p:cNvPr id="32" name="Group 31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34" name="Rectangle 33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b="1" dirty="0">
                  <a:solidFill>
                    <a:srgbClr val="000000"/>
                  </a:solidFill>
                </a:rPr>
                <a:t>Crop picture</a:t>
              </a:r>
            </a:p>
            <a:p>
              <a:r>
                <a:rPr lang="en-US" sz="900" dirty="0">
                  <a:solidFill>
                    <a:srgbClr val="000000"/>
                  </a:solidFill>
                </a:rPr>
                <a:t>Select picture &gt; click on tab “Picture Tools &gt; Format”</a:t>
              </a:r>
            </a:p>
          </p:txBody>
        </p:sp>
        <p:sp>
          <p:nvSpPr>
            <p:cNvPr id="43" name="Rectangle 42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Click on the icon </a:t>
              </a:r>
              <a:br>
                <a:rPr lang="en-US" sz="900" dirty="0">
                  <a:solidFill>
                    <a:srgbClr val="000000"/>
                  </a:solidFill>
                </a:rPr>
              </a:br>
              <a:r>
                <a:rPr lang="en-US" sz="900" dirty="0">
                  <a:solidFill>
                    <a:srgbClr val="000000"/>
                  </a:solidFill>
                </a:rPr>
                <a:t>above “Crop”</a:t>
              </a:r>
            </a:p>
            <a:p>
              <a:endParaRPr lang="en-US" sz="900" dirty="0">
                <a:solidFill>
                  <a:srgbClr val="000000"/>
                </a:solidFill>
              </a:endParaRPr>
            </a:p>
            <a:p>
              <a:r>
                <a:rPr lang="en-US" sz="900" dirty="0">
                  <a:solidFill>
                    <a:srgbClr val="000000"/>
                  </a:solidFill>
                </a:rPr>
                <a:t>You will see crop and scale markers on the corners</a:t>
              </a:r>
            </a:p>
          </p:txBody>
        </p:sp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49" name="Rectangle 48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  <p:sp>
          <p:nvSpPr>
            <p:cNvPr id="50" name="Rectangle 49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51" name="Straight Arrow Connector 50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>
              <a:stCxn id="44" idx="0"/>
              <a:endCxn id="44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>
              <a:stCxn id="44" idx="3"/>
              <a:endCxn id="44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Oval 55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92370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Header 2, white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72" name="Freeform 71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5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6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7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8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9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80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81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86" name="Picture Placeholder 85"/>
          <p:cNvSpPr>
            <a:spLocks noGrp="1"/>
          </p:cNvSpPr>
          <p:nvPr>
            <p:ph type="pic" sz="quarter" idx="18"/>
          </p:nvPr>
        </p:nvSpPr>
        <p:spPr bwMode="gray">
          <a:xfrm>
            <a:off x="0" y="-12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7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7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7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7" y="411834"/>
                  <a:pt x="6563877" y="411834"/>
                  <a:pt x="6563877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360000" y="334800"/>
            <a:ext cx="4122000" cy="946958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  <p:grpSp>
        <p:nvGrpSpPr>
          <p:cNvPr id="32" name="Group 31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34" name="Rectangle 33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b="1" dirty="0">
                  <a:solidFill>
                    <a:srgbClr val="000000"/>
                  </a:solidFill>
                </a:rPr>
                <a:t>Crop picture</a:t>
              </a:r>
            </a:p>
            <a:p>
              <a:r>
                <a:rPr lang="en-US" sz="900" dirty="0">
                  <a:solidFill>
                    <a:srgbClr val="000000"/>
                  </a:solidFill>
                </a:rPr>
                <a:t>Select picture &gt; click on tab “Picture Tools &gt; Format”</a:t>
              </a:r>
            </a:p>
          </p:txBody>
        </p:sp>
        <p:sp>
          <p:nvSpPr>
            <p:cNvPr id="43" name="Rectangle 42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Click on the icon </a:t>
              </a:r>
              <a:br>
                <a:rPr lang="en-US" sz="900" dirty="0">
                  <a:solidFill>
                    <a:srgbClr val="000000"/>
                  </a:solidFill>
                </a:rPr>
              </a:br>
              <a:r>
                <a:rPr lang="en-US" sz="900" dirty="0">
                  <a:solidFill>
                    <a:srgbClr val="000000"/>
                  </a:solidFill>
                </a:rPr>
                <a:t>above “Crop”</a:t>
              </a:r>
            </a:p>
            <a:p>
              <a:endParaRPr lang="en-US" sz="900" dirty="0">
                <a:solidFill>
                  <a:srgbClr val="000000"/>
                </a:solidFill>
              </a:endParaRPr>
            </a:p>
            <a:p>
              <a:r>
                <a:rPr lang="en-US" sz="900" dirty="0">
                  <a:solidFill>
                    <a:srgbClr val="000000"/>
                  </a:solidFill>
                </a:rPr>
                <a:t>You will see crop and scale markers on the corners</a:t>
              </a:r>
            </a:p>
          </p:txBody>
        </p:sp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49" name="Rectangle 48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  <p:sp>
          <p:nvSpPr>
            <p:cNvPr id="50" name="Rectangle 49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51" name="Straight Arrow Connector 50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>
              <a:stCxn id="44" idx="0"/>
              <a:endCxn id="44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>
              <a:stCxn id="44" idx="3"/>
              <a:endCxn id="44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55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56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670319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Header, blue logo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55" name="Freeform 54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6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8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0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1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2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3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5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6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7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72" name="Picture Placeholder 71"/>
          <p:cNvSpPr>
            <a:spLocks noGrp="1"/>
          </p:cNvSpPr>
          <p:nvPr>
            <p:ph type="pic" sz="quarter" idx="18"/>
          </p:nvPr>
        </p:nvSpPr>
        <p:spPr bwMode="gray">
          <a:xfrm>
            <a:off x="0" y="-12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7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7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7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7" y="411834"/>
                  <a:pt x="6563877" y="411834"/>
                  <a:pt x="6563877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334800"/>
            <a:ext cx="5688000" cy="600710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/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  <p:grpSp>
        <p:nvGrpSpPr>
          <p:cNvPr id="32" name="Group 31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34" name="Rectangle 33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b="1" dirty="0">
                  <a:solidFill>
                    <a:srgbClr val="000000"/>
                  </a:solidFill>
                </a:rPr>
                <a:t>Crop picture</a:t>
              </a:r>
            </a:p>
            <a:p>
              <a:r>
                <a:rPr lang="en-US" sz="900" dirty="0">
                  <a:solidFill>
                    <a:srgbClr val="000000"/>
                  </a:solidFill>
                </a:rPr>
                <a:t>Select picture &gt; click on tab “Picture Tools &gt; Format”</a:t>
              </a:r>
            </a:p>
          </p:txBody>
        </p:sp>
        <p:sp>
          <p:nvSpPr>
            <p:cNvPr id="43" name="Rectangle 42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Click on the icon </a:t>
              </a:r>
              <a:br>
                <a:rPr lang="en-US" sz="900" dirty="0">
                  <a:solidFill>
                    <a:srgbClr val="000000"/>
                  </a:solidFill>
                </a:rPr>
              </a:br>
              <a:r>
                <a:rPr lang="en-US" sz="900" dirty="0">
                  <a:solidFill>
                    <a:srgbClr val="000000"/>
                  </a:solidFill>
                </a:rPr>
                <a:t>above “Crop”</a:t>
              </a:r>
            </a:p>
            <a:p>
              <a:endParaRPr lang="en-US" sz="900" dirty="0">
                <a:solidFill>
                  <a:srgbClr val="000000"/>
                </a:solidFill>
              </a:endParaRPr>
            </a:p>
            <a:p>
              <a:r>
                <a:rPr lang="en-US" sz="900" dirty="0">
                  <a:solidFill>
                    <a:srgbClr val="000000"/>
                  </a:solidFill>
                </a:rPr>
                <a:t>You will see crop and scale markers on the corners</a:t>
              </a: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50" name="Rectangle 49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  <p:sp>
          <p:nvSpPr>
            <p:cNvPr id="51" name="Rectangle 50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52" name="Straight Arrow Connector 51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>
              <a:stCxn id="45" idx="0"/>
              <a:endCxn id="45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>
              <a:stCxn id="45" idx="3"/>
              <a:endCxn id="45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Oval 68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432626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Header 2, blue logo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55" name="Freeform 54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6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8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9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0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1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2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3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5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6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71" name="Picture Placeholder 70"/>
          <p:cNvSpPr>
            <a:spLocks noGrp="1"/>
          </p:cNvSpPr>
          <p:nvPr>
            <p:ph type="pic" sz="quarter" idx="18"/>
          </p:nvPr>
        </p:nvSpPr>
        <p:spPr bwMode="gray">
          <a:xfrm>
            <a:off x="0" y="-12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7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7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7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7" y="411834"/>
                  <a:pt x="6563877" y="411834"/>
                  <a:pt x="6563877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Title 1"/>
          <p:cNvSpPr>
            <a:spLocks noGrp="1"/>
          </p:cNvSpPr>
          <p:nvPr>
            <p:ph type="title"/>
          </p:nvPr>
        </p:nvSpPr>
        <p:spPr bwMode="gray">
          <a:xfrm>
            <a:off x="360000" y="334800"/>
            <a:ext cx="4122000" cy="946958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grpSp>
        <p:nvGrpSpPr>
          <p:cNvPr id="32" name="Group 31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34" name="Rectangle 33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b="1" dirty="0">
                  <a:solidFill>
                    <a:srgbClr val="000000"/>
                  </a:solidFill>
                </a:rPr>
                <a:t>Crop picture</a:t>
              </a:r>
            </a:p>
            <a:p>
              <a:r>
                <a:rPr lang="en-US" sz="900" dirty="0">
                  <a:solidFill>
                    <a:srgbClr val="000000"/>
                  </a:solidFill>
                </a:rPr>
                <a:t>Select picture &gt; click on tab “Picture Tools &gt; Format”</a:t>
              </a: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Click on the icon </a:t>
              </a:r>
              <a:br>
                <a:rPr lang="en-US" sz="900" dirty="0">
                  <a:solidFill>
                    <a:srgbClr val="000000"/>
                  </a:solidFill>
                </a:rPr>
              </a:br>
              <a:r>
                <a:rPr lang="en-US" sz="900" dirty="0">
                  <a:solidFill>
                    <a:srgbClr val="000000"/>
                  </a:solidFill>
                </a:rPr>
                <a:t>above “Crop”</a:t>
              </a:r>
            </a:p>
            <a:p>
              <a:endParaRPr lang="en-US" sz="900" dirty="0">
                <a:solidFill>
                  <a:srgbClr val="000000"/>
                </a:solidFill>
              </a:endParaRPr>
            </a:p>
            <a:p>
              <a:r>
                <a:rPr lang="en-US" sz="900" dirty="0">
                  <a:solidFill>
                    <a:srgbClr val="000000"/>
                  </a:solidFill>
                </a:rPr>
                <a:t>You will see crop and scale markers on the corners</a:t>
              </a:r>
            </a:p>
          </p:txBody>
        </p:sp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51" name="Rectangle 50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  <p:sp>
          <p:nvSpPr>
            <p:cNvPr id="52" name="Rectangle 51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53" name="Straight Arrow Connector 52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>
              <a:stCxn id="46" idx="0"/>
              <a:endCxn id="46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>
              <a:stCxn id="46" idx="3"/>
              <a:endCxn id="46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Oval 68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665878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Slim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 bwMode="gray">
          <a:xfrm>
            <a:off x="352424" y="1298829"/>
            <a:ext cx="6292101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 bwMode="gray">
          <a:xfrm>
            <a:off x="6793575" y="1298832"/>
            <a:ext cx="2350426" cy="4703999"/>
          </a:xfrm>
          <a:noFill/>
        </p:spPr>
        <p:txBody>
          <a:bodyPr/>
          <a:lstStyle>
            <a:lvl1pPr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8271D7EE-025D-44EF-94E5-6C8AC9194795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89093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 bwMode="gray">
          <a:xfrm>
            <a:off x="1" y="1298829"/>
            <a:ext cx="6644525" cy="4704000"/>
          </a:xfrm>
        </p:spPr>
        <p:txBody>
          <a:bodyPr/>
          <a:lstStyle>
            <a:lvl1pPr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 bwMode="gray">
          <a:xfrm>
            <a:off x="679357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8645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fld id="{8271D7EE-025D-44EF-94E5-6C8AC9194795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85584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&amp; statistics">
    <p:bg bwMode="gray">
      <p:bgPr>
        <a:solidFill>
          <a:srgbClr val="B9C9D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entagon 28"/>
          <p:cNvSpPr/>
          <p:nvPr/>
        </p:nvSpPr>
        <p:spPr bwMode="gray">
          <a:xfrm>
            <a:off x="-1" y="6243917"/>
            <a:ext cx="804523" cy="614083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5" name="Rechthoek 1"/>
          <p:cNvSpPr/>
          <p:nvPr/>
        </p:nvSpPr>
        <p:spPr bwMode="gray">
          <a:xfrm>
            <a:off x="4651575" y="1295400"/>
            <a:ext cx="4140000" cy="2256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nl-NL" sz="2400" dirty="0" err="1">
              <a:solidFill>
                <a:srgbClr val="FFFFFF"/>
              </a:solidFill>
            </a:endParaRPr>
          </a:p>
        </p:txBody>
      </p:sp>
      <p:sp>
        <p:nvSpPr>
          <p:cNvPr id="36" name="Rechthoek 1"/>
          <p:cNvSpPr/>
          <p:nvPr/>
        </p:nvSpPr>
        <p:spPr bwMode="gray">
          <a:xfrm>
            <a:off x="352425" y="1295401"/>
            <a:ext cx="4140000" cy="471804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nl-NL" sz="2400" dirty="0" err="1">
              <a:solidFill>
                <a:srgbClr val="FFFFFF"/>
              </a:solidFill>
            </a:endParaRPr>
          </a:p>
        </p:txBody>
      </p:sp>
      <p:sp>
        <p:nvSpPr>
          <p:cNvPr id="34" name="Rechthoek 1"/>
          <p:cNvSpPr/>
          <p:nvPr/>
        </p:nvSpPr>
        <p:spPr bwMode="gray">
          <a:xfrm>
            <a:off x="4651575" y="3757451"/>
            <a:ext cx="4140000" cy="2256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nl-NL" sz="2400" dirty="0" err="1">
              <a:solidFill>
                <a:srgbClr val="FFFFFF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71D7EE-025D-44EF-94E5-6C8AC9194795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495008" y="1479385"/>
            <a:ext cx="3854836" cy="4327564"/>
          </a:xfrm>
        </p:spPr>
        <p:txBody>
          <a:bodyPr/>
          <a:lstStyle>
            <a:lvl1pPr>
              <a:defRPr sz="14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4794158" y="1791188"/>
            <a:ext cx="3854836" cy="1567760"/>
          </a:xfrm>
        </p:spPr>
        <p:txBody>
          <a:bodyPr/>
          <a:lstStyle>
            <a:lvl1pPr>
              <a:defRPr sz="14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16"/>
          <p:cNvSpPr>
            <a:spLocks noGrp="1"/>
          </p:cNvSpPr>
          <p:nvPr>
            <p:ph sz="quarter" idx="23"/>
          </p:nvPr>
        </p:nvSpPr>
        <p:spPr bwMode="gray">
          <a:xfrm>
            <a:off x="4794158" y="4257473"/>
            <a:ext cx="3854836" cy="1567761"/>
          </a:xfrm>
        </p:spPr>
        <p:txBody>
          <a:bodyPr/>
          <a:lstStyle>
            <a:lvl1pPr>
              <a:defRPr sz="14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30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5317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10" name="Title Heading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794158" y="1479385"/>
            <a:ext cx="3854835" cy="26263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 b="1"/>
            </a:lvl1pPr>
          </a:lstStyle>
          <a:p>
            <a:pPr lvl="0"/>
            <a:r>
              <a:rPr lang="en-US"/>
              <a:t>Edit heading</a:t>
            </a:r>
            <a:endParaRPr lang="en-GB"/>
          </a:p>
        </p:txBody>
      </p:sp>
      <p:sp>
        <p:nvSpPr>
          <p:cNvPr id="40" name="Title Heading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794158" y="3945669"/>
            <a:ext cx="3854835" cy="26263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 b="1"/>
            </a:lvl1pPr>
          </a:lstStyle>
          <a:p>
            <a:pPr lvl="0"/>
            <a:r>
              <a:rPr lang="en-US"/>
              <a:t>Edit heading</a:t>
            </a:r>
            <a:endParaRPr lang="en-GB"/>
          </a:p>
        </p:txBody>
      </p:sp>
      <p:grpSp>
        <p:nvGrpSpPr>
          <p:cNvPr id="47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48" name="Freeform 47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9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0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1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2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3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4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5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6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7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2" name="Group 41"/>
          <p:cNvGrpSpPr/>
          <p:nvPr/>
        </p:nvGrpSpPr>
        <p:grpSpPr bwMode="gray">
          <a:xfrm>
            <a:off x="-1591365" y="338781"/>
            <a:ext cx="1531557" cy="840729"/>
            <a:chOff x="-720001" y="254084"/>
            <a:chExt cx="1080000" cy="630547"/>
          </a:xfrm>
        </p:grpSpPr>
        <p:cxnSp>
          <p:nvCxnSpPr>
            <p:cNvPr id="43" name="Straight Connector 42"/>
            <p:cNvCxnSpPr/>
            <p:nvPr/>
          </p:nvCxnSpPr>
          <p:spPr bwMode="gray">
            <a:xfrm>
              <a:off x="-720001" y="884631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 bwMode="gray">
            <a:xfrm>
              <a:off x="-720001" y="254084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Rectangle 45"/>
          <p:cNvSpPr/>
          <p:nvPr/>
        </p:nvSpPr>
        <p:spPr bwMode="gray">
          <a:xfrm>
            <a:off x="-1499807" y="338779"/>
            <a:ext cx="1313433" cy="840728"/>
          </a:xfrm>
          <a:prstGeom prst="rect">
            <a:avLst/>
          </a:prstGeom>
          <a:solidFill>
            <a:schemeClr val="bg2">
              <a:lumMod val="60000"/>
              <a:lumOff val="4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b" anchorCtr="0">
            <a:noAutofit/>
          </a:bodyPr>
          <a:lstStyle/>
          <a:p>
            <a:r>
              <a:rPr lang="en-US" sz="1000">
                <a:solidFill>
                  <a:srgbClr val="000000"/>
                </a:solidFill>
              </a:rPr>
              <a:t>Title area</a:t>
            </a:r>
          </a:p>
          <a:p>
            <a:r>
              <a:rPr lang="en-US" sz="1000">
                <a:solidFill>
                  <a:srgbClr val="000000"/>
                </a:solidFill>
              </a:rPr>
              <a:t>max over 2 lines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8" name="Rectangle 57"/>
          <p:cNvSpPr/>
          <p:nvPr/>
        </p:nvSpPr>
        <p:spPr bwMode="gray">
          <a:xfrm>
            <a:off x="-1560948" y="5971352"/>
            <a:ext cx="1501140" cy="77210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" bIns="108000" rtlCol="0" anchor="t" anchorCtr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Insert Topic Icons</a:t>
            </a:r>
            <a:endParaRPr lang="en-US" sz="900" b="1" dirty="0">
              <a:solidFill>
                <a:srgbClr val="000000"/>
              </a:solidFill>
            </a:endParaRPr>
          </a:p>
          <a:p>
            <a:r>
              <a:rPr lang="en-US" sz="900">
                <a:solidFill>
                  <a:srgbClr val="000000"/>
                </a:solidFill>
              </a:rPr>
              <a:t>Click on the picture icon and browse to the location of the Topic Icons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3" name="Rectangle 62"/>
          <p:cNvSpPr/>
          <p:nvPr/>
        </p:nvSpPr>
        <p:spPr bwMode="gray">
          <a:xfrm>
            <a:off x="9288780" y="182684"/>
            <a:ext cx="1501140" cy="118760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Insert image via</a:t>
            </a:r>
          </a:p>
          <a:p>
            <a:r>
              <a:rPr lang="en-US" sz="900" dirty="0">
                <a:solidFill>
                  <a:srgbClr val="000000"/>
                </a:solidFill>
              </a:rPr>
              <a:t>Format Background &gt; Picture or texture fill &gt;</a:t>
            </a:r>
          </a:p>
          <a:p>
            <a:r>
              <a:rPr lang="en-US" sz="900" dirty="0">
                <a:solidFill>
                  <a:srgbClr val="000000"/>
                </a:solidFill>
              </a:rPr>
              <a:t>Click “File” to browse to your image</a:t>
            </a:r>
          </a:p>
          <a:p>
            <a:r>
              <a:rPr lang="en-US" sz="900" dirty="0">
                <a:solidFill>
                  <a:srgbClr val="000000"/>
                </a:solidFill>
              </a:rPr>
              <a:t>Make sure </a:t>
            </a:r>
            <a:r>
              <a:rPr lang="en-US" sz="900" i="1" dirty="0">
                <a:solidFill>
                  <a:srgbClr val="000000"/>
                </a:solidFill>
              </a:rPr>
              <a:t>“Tile picture as texture”</a:t>
            </a:r>
            <a:r>
              <a:rPr lang="en-US" sz="900" dirty="0">
                <a:solidFill>
                  <a:srgbClr val="000000"/>
                </a:solidFill>
              </a:rPr>
              <a:t> is ticked</a:t>
            </a:r>
          </a:p>
        </p:txBody>
      </p:sp>
    </p:spTree>
    <p:extLst>
      <p:ext uri="{BB962C8B-B14F-4D97-AF65-F5344CB8AC3E}">
        <p14:creationId xmlns:p14="http://schemas.microsoft.com/office/powerpoint/2010/main" val="3930055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9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lide Option 2">
    <p:bg bwMode="gray">
      <p:bgPr>
        <a:solidFill>
          <a:srgbClr val="D9D9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10"/>
          <p:cNvSpPr/>
          <p:nvPr/>
        </p:nvSpPr>
        <p:spPr bwMode="gray">
          <a:xfrm>
            <a:off x="2" y="0"/>
            <a:ext cx="9143999" cy="5798136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40000"/>
                </a:schemeClr>
              </a:gs>
              <a:gs pos="54000">
                <a:schemeClr val="bg1">
                  <a:alpha val="0"/>
                </a:schemeClr>
              </a:gs>
              <a:gs pos="10000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4" name="Text Placeholder 82"/>
          <p:cNvSpPr>
            <a:spLocks noGrp="1"/>
          </p:cNvSpPr>
          <p:nvPr>
            <p:ph type="body" sz="quarter" idx="25"/>
          </p:nvPr>
        </p:nvSpPr>
        <p:spPr bwMode="gray">
          <a:xfrm>
            <a:off x="358775" y="5194213"/>
            <a:ext cx="8431200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FFFFFF">
              <a:alpha val="90000"/>
            </a:srgbClr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Text Placeholder 9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52427" y="5194213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44" name="Text Placeholder 79"/>
          <p:cNvSpPr>
            <a:spLocks noGrp="1"/>
          </p:cNvSpPr>
          <p:nvPr>
            <p:ph type="body" sz="quarter" idx="23"/>
          </p:nvPr>
        </p:nvSpPr>
        <p:spPr bwMode="gray">
          <a:xfrm>
            <a:off x="358775" y="4265910"/>
            <a:ext cx="8431200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FFFFFF">
              <a:alpha val="90000"/>
            </a:srgbClr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Text Placeholder 92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52427" y="4265910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46" name="Text Placeholder 76"/>
          <p:cNvSpPr>
            <a:spLocks noGrp="1"/>
          </p:cNvSpPr>
          <p:nvPr>
            <p:ph type="body" sz="quarter" idx="21"/>
          </p:nvPr>
        </p:nvSpPr>
        <p:spPr bwMode="gray">
          <a:xfrm>
            <a:off x="358775" y="3337607"/>
            <a:ext cx="8431200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FFFFFF">
              <a:alpha val="90000"/>
            </a:srgbClr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7" name="Text Placeholder 91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52427" y="3337607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48" name="Text Placeholder 73"/>
          <p:cNvSpPr>
            <a:spLocks noGrp="1"/>
          </p:cNvSpPr>
          <p:nvPr>
            <p:ph type="body" sz="quarter" idx="19"/>
          </p:nvPr>
        </p:nvSpPr>
        <p:spPr bwMode="gray">
          <a:xfrm>
            <a:off x="358775" y="2409305"/>
            <a:ext cx="8431200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FFFFFF">
              <a:alpha val="90000"/>
            </a:srgbClr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9" name="Text Placeholder 90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52427" y="2409305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50" name="Text Placeholder 40"/>
          <p:cNvSpPr>
            <a:spLocks noGrp="1"/>
          </p:cNvSpPr>
          <p:nvPr>
            <p:ph type="body" sz="quarter" idx="18"/>
          </p:nvPr>
        </p:nvSpPr>
        <p:spPr bwMode="gray">
          <a:xfrm>
            <a:off x="358775" y="1481002"/>
            <a:ext cx="8431200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FFFFFF">
              <a:alpha val="90000"/>
            </a:srgbClr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1" name="Text Placeholder 88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52427" y="1481002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52" name="Picture Placeholder 3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84055" y="1609360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3" name="Picture Placeholder 7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84055" y="2537663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5" name="Picture Placeholder 78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84055" y="3465966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6" name="Picture Placeholder 81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84055" y="4394269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7" name="Picture Placeholder 8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884055" y="5322571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5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36" name="Freeform 35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4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60" name="Rectangle 59"/>
          <p:cNvSpPr/>
          <p:nvPr/>
        </p:nvSpPr>
        <p:spPr bwMode="gray">
          <a:xfrm>
            <a:off x="9288780" y="182684"/>
            <a:ext cx="1501140" cy="118760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 dirty="0">
                <a:solidFill>
                  <a:schemeClr val="tx1"/>
                </a:solidFill>
              </a:rPr>
              <a:t>Insert image via</a:t>
            </a:r>
          </a:p>
          <a:p>
            <a:pPr algn="l"/>
            <a:r>
              <a:rPr lang="en-US" sz="900" b="0" dirty="0">
                <a:solidFill>
                  <a:schemeClr val="tx1"/>
                </a:solidFill>
              </a:rPr>
              <a:t>Format Background &gt; Picture</a:t>
            </a:r>
            <a:r>
              <a:rPr lang="en-US" sz="900" b="0" baseline="0" dirty="0">
                <a:solidFill>
                  <a:schemeClr val="tx1"/>
                </a:solidFill>
              </a:rPr>
              <a:t> or texture fill &gt;</a:t>
            </a:r>
          </a:p>
          <a:p>
            <a:pPr algn="l"/>
            <a:r>
              <a:rPr lang="en-US" sz="900" b="0" i="0" baseline="0" dirty="0">
                <a:solidFill>
                  <a:schemeClr val="tx1"/>
                </a:solidFill>
              </a:rPr>
              <a:t>Click “File” to browse to </a:t>
            </a:r>
            <a:r>
              <a:rPr lang="en-US" sz="900" b="0" baseline="0" dirty="0">
                <a:solidFill>
                  <a:schemeClr val="tx1"/>
                </a:solidFill>
              </a:rPr>
              <a:t>your image</a:t>
            </a:r>
          </a:p>
          <a:p>
            <a:pPr algn="l"/>
            <a:r>
              <a:rPr lang="en-US" sz="900" b="0" baseline="0" dirty="0">
                <a:solidFill>
                  <a:schemeClr val="tx1"/>
                </a:solidFill>
              </a:rPr>
              <a:t>Make sure </a:t>
            </a:r>
            <a:r>
              <a:rPr lang="en-US" sz="900" b="0" i="1" baseline="0" dirty="0">
                <a:solidFill>
                  <a:schemeClr val="tx1"/>
                </a:solidFill>
              </a:rPr>
              <a:t>“Tile picture as texture”</a:t>
            </a:r>
            <a:r>
              <a:rPr lang="en-US" sz="900" b="0" baseline="0" dirty="0">
                <a:solidFill>
                  <a:schemeClr val="tx1"/>
                </a:solidFill>
              </a:rPr>
              <a:t> is ticked</a:t>
            </a:r>
            <a:endParaRPr lang="en-US" sz="9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137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/>
      <p:bldP spid="53" grpId="0"/>
      <p:bldP spid="55" grpId="0"/>
      <p:bldP spid="56" grpId="0"/>
      <p:bldP spid="57" grpId="0"/>
    </p:bld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AkzoNobel logo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34" name="Freeform 33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4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6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7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8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9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0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1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2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Picture Placeholder 56"/>
          <p:cNvSpPr>
            <a:spLocks noGrp="1"/>
          </p:cNvSpPr>
          <p:nvPr>
            <p:ph type="pic" sz="quarter" idx="17"/>
          </p:nvPr>
        </p:nvSpPr>
        <p:spPr bwMode="gray">
          <a:xfrm>
            <a:off x="2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3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09 w 9143999"/>
              <a:gd name="connsiteY55" fmla="*/ 341985 h 6859200"/>
              <a:gd name="connsiteX56" fmla="*/ 6427457 w 9143999"/>
              <a:gd name="connsiteY56" fmla="*/ 657368 h 6859200"/>
              <a:gd name="connsiteX57" fmla="*/ 6477213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29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49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09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3" y="547300"/>
                  <a:pt x="6601023" y="547300"/>
                  <a:pt x="6601023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09" y="341985"/>
                </a:moveTo>
                <a:cubicBezTo>
                  <a:pt x="6427457" y="657368"/>
                  <a:pt x="6427457" y="657368"/>
                  <a:pt x="6427457" y="657368"/>
                </a:cubicBezTo>
                <a:cubicBezTo>
                  <a:pt x="6477213" y="657368"/>
                  <a:pt x="6477213" y="657368"/>
                  <a:pt x="6477213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29" y="628696"/>
                  <a:pt x="6630629" y="628696"/>
                  <a:pt x="6630629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49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29" y="358368"/>
                  <a:pt x="6618190" y="341985"/>
                  <a:pt x="6580873" y="341985"/>
                </a:cubicBezTo>
                <a:cubicBezTo>
                  <a:pt x="6539409" y="341985"/>
                  <a:pt x="6539409" y="341985"/>
                  <a:pt x="6539409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45" name="Group 44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53" name="Rectangle 52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b="1" dirty="0">
                  <a:solidFill>
                    <a:srgbClr val="000000"/>
                  </a:solidFill>
                </a:rPr>
                <a:t>Crop picture</a:t>
              </a:r>
            </a:p>
            <a:p>
              <a:r>
                <a:rPr lang="en-US" sz="900" dirty="0">
                  <a:solidFill>
                    <a:srgbClr val="000000"/>
                  </a:solidFill>
                </a:rPr>
                <a:t>Select picture &gt; click on tab “Picture Tools &gt; Format”</a:t>
              </a:r>
            </a:p>
          </p:txBody>
        </p:sp>
        <p:sp>
          <p:nvSpPr>
            <p:cNvPr id="54" name="Rectangle 53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Click on the icon </a:t>
              </a:r>
              <a:br>
                <a:rPr lang="en-US" sz="900" dirty="0">
                  <a:solidFill>
                    <a:srgbClr val="000000"/>
                  </a:solidFill>
                </a:rPr>
              </a:br>
              <a:r>
                <a:rPr lang="en-US" sz="900" dirty="0">
                  <a:solidFill>
                    <a:srgbClr val="000000"/>
                  </a:solidFill>
                </a:rPr>
                <a:t>above “Crop”</a:t>
              </a:r>
            </a:p>
            <a:p>
              <a:endParaRPr lang="en-US" sz="900" dirty="0">
                <a:solidFill>
                  <a:srgbClr val="000000"/>
                </a:solidFill>
              </a:endParaRPr>
            </a:p>
            <a:p>
              <a:r>
                <a:rPr lang="en-US" sz="900" dirty="0">
                  <a:solidFill>
                    <a:srgbClr val="000000"/>
                  </a:solidFill>
                </a:rPr>
                <a:t>You will see crop and scale markers on the corners</a:t>
              </a:r>
            </a:p>
          </p:txBody>
        </p:sp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58" name="Picture 57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61" name="Rectangle 60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  <p:sp>
          <p:nvSpPr>
            <p:cNvPr id="62" name="Rectangle 61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63" name="Straight Arrow Connector 62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>
              <a:stCxn id="55" idx="0"/>
              <a:endCxn id="55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>
              <a:stCxn id="55" idx="3"/>
              <a:endCxn id="55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Arrow Connector 65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Oval 66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289516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AkzoNobel logo blue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32" name="Freeform 31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4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5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7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8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9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0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1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2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3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58" name="Picture Placeholder 57"/>
          <p:cNvSpPr>
            <a:spLocks noGrp="1"/>
          </p:cNvSpPr>
          <p:nvPr>
            <p:ph type="pic" sz="quarter" idx="18"/>
          </p:nvPr>
        </p:nvSpPr>
        <p:spPr bwMode="gray">
          <a:xfrm>
            <a:off x="2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3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09 w 9143999"/>
              <a:gd name="connsiteY55" fmla="*/ 341985 h 6859200"/>
              <a:gd name="connsiteX56" fmla="*/ 6427457 w 9143999"/>
              <a:gd name="connsiteY56" fmla="*/ 657368 h 6859200"/>
              <a:gd name="connsiteX57" fmla="*/ 6477213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29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49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09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3" y="547300"/>
                  <a:pt x="6601023" y="547300"/>
                  <a:pt x="6601023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09" y="341985"/>
                </a:moveTo>
                <a:cubicBezTo>
                  <a:pt x="6427457" y="657368"/>
                  <a:pt x="6427457" y="657368"/>
                  <a:pt x="6427457" y="657368"/>
                </a:cubicBezTo>
                <a:cubicBezTo>
                  <a:pt x="6477213" y="657368"/>
                  <a:pt x="6477213" y="657368"/>
                  <a:pt x="6477213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29" y="628696"/>
                  <a:pt x="6630629" y="628696"/>
                  <a:pt x="6630629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49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29" y="358368"/>
                  <a:pt x="6618190" y="341985"/>
                  <a:pt x="6580873" y="341985"/>
                </a:cubicBezTo>
                <a:cubicBezTo>
                  <a:pt x="6539409" y="341985"/>
                  <a:pt x="6539409" y="341985"/>
                  <a:pt x="6539409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Group 45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54" name="Rectangle 53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b="1" dirty="0">
                  <a:solidFill>
                    <a:srgbClr val="000000"/>
                  </a:solidFill>
                </a:rPr>
                <a:t>Crop picture</a:t>
              </a:r>
            </a:p>
            <a:p>
              <a:r>
                <a:rPr lang="en-US" sz="900" dirty="0">
                  <a:solidFill>
                    <a:srgbClr val="000000"/>
                  </a:solidFill>
                </a:rPr>
                <a:t>Select picture &gt; click on tab “Picture Tools &gt; Format”</a:t>
              </a:r>
            </a:p>
          </p:txBody>
        </p:sp>
        <p:sp>
          <p:nvSpPr>
            <p:cNvPr id="55" name="Rectangle 54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Click on the icon </a:t>
              </a:r>
              <a:br>
                <a:rPr lang="en-US" sz="900" dirty="0">
                  <a:solidFill>
                    <a:srgbClr val="000000"/>
                  </a:solidFill>
                </a:rPr>
              </a:br>
              <a:r>
                <a:rPr lang="en-US" sz="900" dirty="0">
                  <a:solidFill>
                    <a:srgbClr val="000000"/>
                  </a:solidFill>
                </a:rPr>
                <a:t>above “Crop”</a:t>
              </a:r>
            </a:p>
            <a:p>
              <a:endParaRPr lang="en-US" sz="900" dirty="0">
                <a:solidFill>
                  <a:srgbClr val="000000"/>
                </a:solidFill>
              </a:endParaRPr>
            </a:p>
            <a:p>
              <a:r>
                <a:rPr lang="en-US" sz="900" dirty="0">
                  <a:solidFill>
                    <a:srgbClr val="000000"/>
                  </a:solidFill>
                </a:rPr>
                <a:t>You will see crop and scale markers on the corners</a:t>
              </a: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59" name="Picture 58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62" name="Rectangle 61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  <p:sp>
          <p:nvSpPr>
            <p:cNvPr id="63" name="Rectangle 62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64" name="Straight Arrow Connector 63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>
              <a:stCxn id="56" idx="0"/>
              <a:endCxn id="56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>
              <a:stCxn id="56" idx="3"/>
              <a:endCxn id="56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Oval 67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24523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with Header and circles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53" name="Freeform 52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5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6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7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9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0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1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2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3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5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70" name="Picture Placeholder 69"/>
          <p:cNvSpPr>
            <a:spLocks noGrp="1"/>
          </p:cNvSpPr>
          <p:nvPr>
            <p:ph type="pic" sz="quarter" idx="17"/>
          </p:nvPr>
        </p:nvSpPr>
        <p:spPr bwMode="gray">
          <a:xfrm>
            <a:off x="2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4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10 w 9143999"/>
              <a:gd name="connsiteY55" fmla="*/ 341985 h 6859200"/>
              <a:gd name="connsiteX56" fmla="*/ 6427458 w 9143999"/>
              <a:gd name="connsiteY56" fmla="*/ 657368 h 6859200"/>
              <a:gd name="connsiteX57" fmla="*/ 6477213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30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50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10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4" y="547300"/>
                  <a:pt x="6601024" y="547300"/>
                  <a:pt x="6601024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10" y="341985"/>
                </a:moveTo>
                <a:cubicBezTo>
                  <a:pt x="6427458" y="657368"/>
                  <a:pt x="6427458" y="657368"/>
                  <a:pt x="6427458" y="657368"/>
                </a:cubicBezTo>
                <a:cubicBezTo>
                  <a:pt x="6477213" y="657368"/>
                  <a:pt x="6477213" y="657368"/>
                  <a:pt x="6477213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30" y="628696"/>
                  <a:pt x="6630630" y="628696"/>
                  <a:pt x="6630630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50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30" y="358368"/>
                  <a:pt x="6618190" y="341985"/>
                  <a:pt x="6580873" y="341985"/>
                </a:cubicBezTo>
                <a:cubicBezTo>
                  <a:pt x="6539410" y="341985"/>
                  <a:pt x="6539410" y="341985"/>
                  <a:pt x="6539410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360000" y="334800"/>
            <a:ext cx="5686337" cy="600710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  <p:sp>
        <p:nvSpPr>
          <p:cNvPr id="73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5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74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83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7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72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7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960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77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779250" y="441742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78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3067750" y="441742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79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356250" y="441742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80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7644750" y="441742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grpSp>
        <p:nvGrpSpPr>
          <p:cNvPr id="51" name="Group 50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58" name="Rectangle 57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b="1" dirty="0">
                  <a:solidFill>
                    <a:srgbClr val="000000"/>
                  </a:solidFill>
                </a:rPr>
                <a:t>Crop picture</a:t>
              </a:r>
            </a:p>
            <a:p>
              <a:r>
                <a:rPr lang="en-US" sz="900" dirty="0">
                  <a:solidFill>
                    <a:srgbClr val="000000"/>
                  </a:solidFill>
                </a:rPr>
                <a:t>Select picture &gt; click on tab “Picture Tools &gt; Format”</a:t>
              </a:r>
            </a:p>
          </p:txBody>
        </p:sp>
        <p:sp>
          <p:nvSpPr>
            <p:cNvPr id="66" name="Rectangle 65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Click on the icon </a:t>
              </a:r>
              <a:br>
                <a:rPr lang="en-US" sz="900" dirty="0">
                  <a:solidFill>
                    <a:srgbClr val="000000"/>
                  </a:solidFill>
                </a:rPr>
              </a:br>
              <a:r>
                <a:rPr lang="en-US" sz="900" dirty="0">
                  <a:solidFill>
                    <a:srgbClr val="000000"/>
                  </a:solidFill>
                </a:rPr>
                <a:t>above “Crop”</a:t>
              </a:r>
            </a:p>
            <a:p>
              <a:endParaRPr lang="en-US" sz="900" dirty="0">
                <a:solidFill>
                  <a:srgbClr val="000000"/>
                </a:solidFill>
              </a:endParaRPr>
            </a:p>
            <a:p>
              <a:r>
                <a:rPr lang="en-US" sz="900" dirty="0">
                  <a:solidFill>
                    <a:srgbClr val="000000"/>
                  </a:solidFill>
                </a:rPr>
                <a:t>You will see crop and scale markers on the corners</a:t>
              </a:r>
            </a:p>
          </p:txBody>
        </p:sp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69" name="Picture 68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71" name="Picture 7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72" name="Picture 71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81" name="Rectangle 80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  <p:sp>
          <p:nvSpPr>
            <p:cNvPr id="82" name="Rectangle 81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83" name="Straight Arrow Connector 82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>
              <a:stCxn id="67" idx="0"/>
              <a:endCxn id="67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>
              <a:stCxn id="67" idx="3"/>
              <a:endCxn id="67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Arrow Connector 85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Oval 86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05832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/>
      <p:bldP spid="78" grpId="0"/>
      <p:bldP spid="79" grpId="0"/>
      <p:bldP spid="80" grpId="0"/>
    </p:bld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with Header and circles 2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62" name="Freeform 61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5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6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8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9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0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1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2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3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78" name="Picture Placeholder 77"/>
          <p:cNvSpPr>
            <a:spLocks noGrp="1"/>
          </p:cNvSpPr>
          <p:nvPr>
            <p:ph type="pic" sz="quarter" idx="17"/>
          </p:nvPr>
        </p:nvSpPr>
        <p:spPr bwMode="gray">
          <a:xfrm>
            <a:off x="2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3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09 w 9143999"/>
              <a:gd name="connsiteY55" fmla="*/ 341985 h 6859200"/>
              <a:gd name="connsiteX56" fmla="*/ 6427457 w 9143999"/>
              <a:gd name="connsiteY56" fmla="*/ 657368 h 6859200"/>
              <a:gd name="connsiteX57" fmla="*/ 6477213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29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49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09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3" y="547300"/>
                  <a:pt x="6601023" y="547300"/>
                  <a:pt x="6601023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09" y="341985"/>
                </a:moveTo>
                <a:cubicBezTo>
                  <a:pt x="6427457" y="657368"/>
                  <a:pt x="6427457" y="657368"/>
                  <a:pt x="6427457" y="657368"/>
                </a:cubicBezTo>
                <a:cubicBezTo>
                  <a:pt x="6477213" y="657368"/>
                  <a:pt x="6477213" y="657368"/>
                  <a:pt x="6477213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29" y="628696"/>
                  <a:pt x="6630629" y="628696"/>
                  <a:pt x="6630629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49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29" y="358368"/>
                  <a:pt x="6618190" y="341985"/>
                  <a:pt x="6580873" y="341985"/>
                </a:cubicBezTo>
                <a:cubicBezTo>
                  <a:pt x="6539409" y="341985"/>
                  <a:pt x="6539409" y="341985"/>
                  <a:pt x="6539409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334800"/>
            <a:ext cx="5688000" cy="600710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/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  <p:sp>
        <p:nvSpPr>
          <p:cNvPr id="43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5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44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83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72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960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7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7792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30677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3562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0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76447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grpSp>
        <p:nvGrpSpPr>
          <p:cNvPr id="45" name="Group 44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46" name="Rectangle 45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b="1" dirty="0">
                  <a:solidFill>
                    <a:srgbClr val="000000"/>
                  </a:solidFill>
                </a:rPr>
                <a:t>Crop picture</a:t>
              </a:r>
            </a:p>
            <a:p>
              <a:r>
                <a:rPr lang="en-US" sz="900" dirty="0">
                  <a:solidFill>
                    <a:srgbClr val="000000"/>
                  </a:solidFill>
                </a:rPr>
                <a:t>Select picture &gt; click on tab “Picture Tools &gt; Format”</a:t>
              </a:r>
            </a:p>
          </p:txBody>
        </p:sp>
        <p:sp>
          <p:nvSpPr>
            <p:cNvPr id="47" name="Rectangle 46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Click on the icon </a:t>
              </a:r>
              <a:br>
                <a:rPr lang="en-US" sz="900" dirty="0">
                  <a:solidFill>
                    <a:srgbClr val="000000"/>
                  </a:solidFill>
                </a:rPr>
              </a:br>
              <a:r>
                <a:rPr lang="en-US" sz="900" dirty="0">
                  <a:solidFill>
                    <a:srgbClr val="000000"/>
                  </a:solidFill>
                </a:rPr>
                <a:t>above “Crop”</a:t>
              </a:r>
            </a:p>
            <a:p>
              <a:endParaRPr lang="en-US" sz="900" dirty="0">
                <a:solidFill>
                  <a:srgbClr val="000000"/>
                </a:solidFill>
              </a:endParaRPr>
            </a:p>
            <a:p>
              <a:r>
                <a:rPr lang="en-US" sz="900" dirty="0">
                  <a:solidFill>
                    <a:srgbClr val="000000"/>
                  </a:solidFill>
                </a:rPr>
                <a:t>You will see crop and scale markers on the corners</a:t>
              </a: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53" name="Rectangle 52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  <p:sp>
          <p:nvSpPr>
            <p:cNvPr id="67" name="Rectangle 66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74" name="Straight Arrow Connector 73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>
              <a:stCxn id="48" idx="0"/>
              <a:endCxn id="48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>
              <a:stCxn id="48" idx="3"/>
              <a:endCxn id="48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Arrow Connector 76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Oval 78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7685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/>
      <p:bldP spid="58" grpId="0"/>
      <p:bldP spid="59" grpId="0"/>
      <p:bldP spid="60" grpId="0"/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with Header and circles 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62" name="Freeform 61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5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6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8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9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0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1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2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3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78" name="Picture Placeholder 77"/>
          <p:cNvSpPr>
            <a:spLocks noGrp="1"/>
          </p:cNvSpPr>
          <p:nvPr>
            <p:ph type="pic" sz="quarter" idx="17"/>
          </p:nvPr>
        </p:nvSpPr>
        <p:spPr bwMode="gray">
          <a:xfrm>
            <a:off x="3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3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09 w 9143999"/>
              <a:gd name="connsiteY55" fmla="*/ 341985 h 6859200"/>
              <a:gd name="connsiteX56" fmla="*/ 6427457 w 9143999"/>
              <a:gd name="connsiteY56" fmla="*/ 657368 h 6859200"/>
              <a:gd name="connsiteX57" fmla="*/ 6477213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29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49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09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3" y="547300"/>
                  <a:pt x="6601023" y="547300"/>
                  <a:pt x="6601023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09" y="341985"/>
                </a:moveTo>
                <a:cubicBezTo>
                  <a:pt x="6427457" y="657368"/>
                  <a:pt x="6427457" y="657368"/>
                  <a:pt x="6427457" y="657368"/>
                </a:cubicBezTo>
                <a:cubicBezTo>
                  <a:pt x="6477213" y="657368"/>
                  <a:pt x="6477213" y="657368"/>
                  <a:pt x="6477213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29" y="628696"/>
                  <a:pt x="6630629" y="628696"/>
                  <a:pt x="6630629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49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29" y="358368"/>
                  <a:pt x="6618190" y="341985"/>
                  <a:pt x="6580873" y="341985"/>
                </a:cubicBezTo>
                <a:cubicBezTo>
                  <a:pt x="6539409" y="341985"/>
                  <a:pt x="6539409" y="341985"/>
                  <a:pt x="6539409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 bwMode="gray">
          <a:xfrm>
            <a:off x="360000" y="334800"/>
            <a:ext cx="4122000" cy="946958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52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5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3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83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72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960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7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7792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30677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3562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0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76447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grpSp>
        <p:nvGrpSpPr>
          <p:cNvPr id="51" name="Group 50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67" name="Rectangle 66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b="1" dirty="0">
                  <a:solidFill>
                    <a:srgbClr val="000000"/>
                  </a:solidFill>
                </a:rPr>
                <a:t>Crop picture</a:t>
              </a:r>
            </a:p>
            <a:p>
              <a:r>
                <a:rPr lang="en-US" sz="900" dirty="0">
                  <a:solidFill>
                    <a:srgbClr val="000000"/>
                  </a:solidFill>
                </a:rPr>
                <a:t>Select picture &gt; click on tab “Picture Tools &gt; Format”</a:t>
              </a:r>
            </a:p>
          </p:txBody>
        </p:sp>
        <p:sp>
          <p:nvSpPr>
            <p:cNvPr id="74" name="Rectangle 73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Click on the icon </a:t>
              </a:r>
              <a:br>
                <a:rPr lang="en-US" sz="900" dirty="0">
                  <a:solidFill>
                    <a:srgbClr val="000000"/>
                  </a:solidFill>
                </a:rPr>
              </a:br>
              <a:r>
                <a:rPr lang="en-US" sz="900" dirty="0">
                  <a:solidFill>
                    <a:srgbClr val="000000"/>
                  </a:solidFill>
                </a:rPr>
                <a:t>above “Crop”</a:t>
              </a:r>
            </a:p>
            <a:p>
              <a:endParaRPr lang="en-US" sz="900" dirty="0">
                <a:solidFill>
                  <a:srgbClr val="000000"/>
                </a:solidFill>
              </a:endParaRPr>
            </a:p>
            <a:p>
              <a:r>
                <a:rPr lang="en-US" sz="900" dirty="0">
                  <a:solidFill>
                    <a:srgbClr val="000000"/>
                  </a:solidFill>
                </a:rPr>
                <a:t>You will see crop and scale markers on the corners</a:t>
              </a:r>
            </a:p>
          </p:txBody>
        </p:sp>
        <p:pic>
          <p:nvPicPr>
            <p:cNvPr id="75" name="Picture 7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77" name="Picture 76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81" name="Rectangle 80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  <p:sp>
          <p:nvSpPr>
            <p:cNvPr id="82" name="Rectangle 81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83" name="Straight Arrow Connector 82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>
              <a:stCxn id="75" idx="0"/>
              <a:endCxn id="75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>
              <a:stCxn id="75" idx="3"/>
              <a:endCxn id="75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Arrow Connector 85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Oval 86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04927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/>
      <p:bldP spid="58" grpId="0"/>
      <p:bldP spid="59" grpId="0"/>
      <p:bldP spid="60" grpId="0"/>
    </p:bld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with Header and circles 4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63" name="Freeform 62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5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6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7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8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9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0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1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2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3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78" name="Picture Placeholder 77"/>
          <p:cNvSpPr>
            <a:spLocks noGrp="1"/>
          </p:cNvSpPr>
          <p:nvPr>
            <p:ph type="pic" sz="quarter" idx="17"/>
          </p:nvPr>
        </p:nvSpPr>
        <p:spPr bwMode="gray">
          <a:xfrm>
            <a:off x="3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3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09 w 9143999"/>
              <a:gd name="connsiteY55" fmla="*/ 341985 h 6859200"/>
              <a:gd name="connsiteX56" fmla="*/ 6427457 w 9143999"/>
              <a:gd name="connsiteY56" fmla="*/ 657368 h 6859200"/>
              <a:gd name="connsiteX57" fmla="*/ 6477214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29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49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09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3" y="547300"/>
                  <a:pt x="6601023" y="547300"/>
                  <a:pt x="6601023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09" y="341985"/>
                </a:moveTo>
                <a:cubicBezTo>
                  <a:pt x="6427457" y="657368"/>
                  <a:pt x="6427457" y="657368"/>
                  <a:pt x="6427457" y="657368"/>
                </a:cubicBezTo>
                <a:cubicBezTo>
                  <a:pt x="6477214" y="657368"/>
                  <a:pt x="6477214" y="657368"/>
                  <a:pt x="6477214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29" y="628696"/>
                  <a:pt x="6630629" y="628696"/>
                  <a:pt x="6630629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49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29" y="358368"/>
                  <a:pt x="6618190" y="341985"/>
                  <a:pt x="6580873" y="341985"/>
                </a:cubicBezTo>
                <a:cubicBezTo>
                  <a:pt x="6539409" y="341985"/>
                  <a:pt x="6539409" y="341985"/>
                  <a:pt x="6539409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60000" y="334800"/>
            <a:ext cx="4122000" cy="946958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3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5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44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83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72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960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779250" y="440403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3067750" y="440403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0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356250" y="440403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1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7644750" y="440403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grpSp>
        <p:nvGrpSpPr>
          <p:cNvPr id="46" name="Group 45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47" name="Rectangle 46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b="1" dirty="0">
                  <a:solidFill>
                    <a:srgbClr val="000000"/>
                  </a:solidFill>
                </a:rPr>
                <a:t>Crop picture</a:t>
              </a:r>
            </a:p>
            <a:p>
              <a:r>
                <a:rPr lang="en-US" sz="900" dirty="0">
                  <a:solidFill>
                    <a:srgbClr val="000000"/>
                  </a:solidFill>
                </a:rPr>
                <a:t>Select picture &gt; click on tab “Picture Tools &gt; Format”</a:t>
              </a:r>
            </a:p>
          </p:txBody>
        </p:sp>
        <p:sp>
          <p:nvSpPr>
            <p:cNvPr id="48" name="Rectangle 47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Click on the icon </a:t>
              </a:r>
              <a:br>
                <a:rPr lang="en-US" sz="900" dirty="0">
                  <a:solidFill>
                    <a:srgbClr val="000000"/>
                  </a:solidFill>
                </a:rPr>
              </a:br>
              <a:r>
                <a:rPr lang="en-US" sz="900" dirty="0">
                  <a:solidFill>
                    <a:srgbClr val="000000"/>
                  </a:solidFill>
                </a:rPr>
                <a:t>above “Crop”</a:t>
              </a:r>
            </a:p>
            <a:p>
              <a:endParaRPr lang="en-US" sz="900" dirty="0">
                <a:solidFill>
                  <a:srgbClr val="000000"/>
                </a:solidFill>
              </a:endParaRPr>
            </a:p>
            <a:p>
              <a:r>
                <a:rPr lang="en-US" sz="900" dirty="0">
                  <a:solidFill>
                    <a:srgbClr val="000000"/>
                  </a:solidFill>
                </a:rPr>
                <a:t>You will see crop and scale markers on the corners</a:t>
              </a:r>
            </a:p>
          </p:txBody>
        </p:sp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57" name="Rectangle 56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  <p:sp>
          <p:nvSpPr>
            <p:cNvPr id="74" name="Rectangle 73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75" name="Straight Arrow Connector 74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>
              <a:stCxn id="49" idx="0"/>
              <a:endCxn id="49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>
              <a:stCxn id="49" idx="3"/>
              <a:endCxn id="49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Oval 79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80871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/>
      <p:bldP spid="59" grpId="0"/>
      <p:bldP spid="60" grpId="0"/>
      <p:bldP spid="61" grpId="0"/>
    </p:bld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Pentagon 28"/>
          <p:cNvSpPr/>
          <p:nvPr/>
        </p:nvSpPr>
        <p:spPr>
          <a:xfrm>
            <a:off x="-1" y="6244918"/>
            <a:ext cx="602409" cy="613083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0" bIns="0" rtlCol="0" anchor="ctr" anchorCtr="0"/>
          <a:lstStyle/>
          <a:p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" name="Group 62"/>
          <p:cNvGrpSpPr/>
          <p:nvPr/>
        </p:nvGrpSpPr>
        <p:grpSpPr bwMode="gray">
          <a:xfrm>
            <a:off x="826809" y="1296099"/>
            <a:ext cx="7964767" cy="4084544"/>
            <a:chOff x="813530" y="1454889"/>
            <a:chExt cx="7970470" cy="2993966"/>
          </a:xfrm>
        </p:grpSpPr>
        <p:sp>
          <p:nvSpPr>
            <p:cNvPr id="16" name="Rectangle 499"/>
            <p:cNvSpPr>
              <a:spLocks noChangeArrowheads="1"/>
            </p:cNvSpPr>
            <p:nvPr/>
          </p:nvSpPr>
          <p:spPr bwMode="gray">
            <a:xfrm>
              <a:off x="813530" y="1454889"/>
              <a:ext cx="7970470" cy="299269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srgbClr val="000000"/>
                </a:solidFill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 bwMode="gray">
            <a:xfrm>
              <a:off x="4798765" y="1456156"/>
              <a:ext cx="0" cy="2992699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 bwMode="gray">
            <a:xfrm>
              <a:off x="813600" y="2952505"/>
              <a:ext cx="7970400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/>
          <p:cNvGrpSpPr/>
          <p:nvPr/>
        </p:nvGrpSpPr>
        <p:grpSpPr bwMode="gray">
          <a:xfrm>
            <a:off x="480060" y="1296634"/>
            <a:ext cx="8335003" cy="4416888"/>
            <a:chOff x="452334" y="1227538"/>
            <a:chExt cx="8355212" cy="3312666"/>
          </a:xfrm>
        </p:grpSpPr>
        <p:cxnSp>
          <p:nvCxnSpPr>
            <p:cNvPr id="8" name="Straight Arrow Connector 7"/>
            <p:cNvCxnSpPr/>
            <p:nvPr/>
          </p:nvCxnSpPr>
          <p:spPr bwMode="gray">
            <a:xfrm>
              <a:off x="452334" y="4540204"/>
              <a:ext cx="8321728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/>
            <p:cNvCxnSpPr/>
            <p:nvPr/>
          </p:nvCxnSpPr>
          <p:spPr bwMode="gray">
            <a:xfrm flipV="1">
              <a:off x="452334" y="1228204"/>
              <a:ext cx="0" cy="331200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/>
            <p:cNvSpPr/>
            <p:nvPr/>
          </p:nvSpPr>
          <p:spPr bwMode="gray">
            <a:xfrm>
              <a:off x="493132" y="1227538"/>
              <a:ext cx="279600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>
                  <a:solidFill>
                    <a:srgbClr val="000000"/>
                  </a:solidFill>
                </a:rPr>
                <a:t>++</a:t>
              </a:r>
              <a:endParaRPr lang="en-US" sz="1867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8527946" y="4315976"/>
              <a:ext cx="279600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>
                  <a:solidFill>
                    <a:srgbClr val="000000"/>
                  </a:solidFill>
                </a:rPr>
                <a:t>++</a:t>
              </a:r>
              <a:endParaRPr lang="en-US" sz="1867" dirty="0">
                <a:solidFill>
                  <a:srgbClr val="000000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552586" y="4315976"/>
              <a:ext cx="160689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>
                  <a:solidFill>
                    <a:srgbClr val="000000"/>
                  </a:solidFill>
                </a:rPr>
                <a:t>--</a:t>
              </a:r>
              <a:endParaRPr lang="en-US" sz="1867" dirty="0">
                <a:solidFill>
                  <a:srgbClr val="000000"/>
                </a:solidFill>
              </a:endParaRPr>
            </a:p>
          </p:txBody>
        </p:sp>
      </p:grpSp>
      <p:sp>
        <p:nvSpPr>
          <p:cNvPr id="28" name="Text Placeholder 2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55274" y="2156158"/>
            <a:ext cx="318924" cy="2364429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90626" y="5593184"/>
            <a:ext cx="2437133" cy="246221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44" name="Text Placeholder 30"/>
          <p:cNvSpPr>
            <a:spLocks noGrp="1"/>
          </p:cNvSpPr>
          <p:nvPr>
            <p:ph type="body" sz="quarter" idx="14"/>
          </p:nvPr>
        </p:nvSpPr>
        <p:spPr bwMode="gray">
          <a:xfrm>
            <a:off x="820527" y="1296627"/>
            <a:ext cx="3978000" cy="2041408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800"/>
            </a:lvl1pPr>
            <a:lvl2pPr marL="239178" indent="-239178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3pPr>
            <a:lvl4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5" name="Text Placeholder 30"/>
          <p:cNvSpPr>
            <a:spLocks noGrp="1"/>
          </p:cNvSpPr>
          <p:nvPr>
            <p:ph type="body" sz="quarter" idx="19"/>
          </p:nvPr>
        </p:nvSpPr>
        <p:spPr bwMode="gray">
          <a:xfrm>
            <a:off x="4808168" y="1296627"/>
            <a:ext cx="3978000" cy="2041408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800"/>
            </a:lvl1pPr>
            <a:lvl2pPr marL="239178" indent="-239178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3pPr>
            <a:lvl4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6" name="Text Placeholder 30"/>
          <p:cNvSpPr>
            <a:spLocks noGrp="1"/>
          </p:cNvSpPr>
          <p:nvPr>
            <p:ph type="body" sz="quarter" idx="20"/>
          </p:nvPr>
        </p:nvSpPr>
        <p:spPr bwMode="gray">
          <a:xfrm>
            <a:off x="820527" y="3339235"/>
            <a:ext cx="3978000" cy="2041408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800"/>
            </a:lvl1pPr>
            <a:lvl2pPr marL="239178" indent="-239178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3pPr>
            <a:lvl4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7" name="Text Placeholder 30"/>
          <p:cNvSpPr>
            <a:spLocks noGrp="1"/>
          </p:cNvSpPr>
          <p:nvPr>
            <p:ph type="body" sz="quarter" idx="21"/>
          </p:nvPr>
        </p:nvSpPr>
        <p:spPr bwMode="gray">
          <a:xfrm>
            <a:off x="4808168" y="3339235"/>
            <a:ext cx="3978000" cy="2041408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800"/>
            </a:lvl1pPr>
            <a:lvl2pPr marL="239178" indent="-239178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3pPr>
            <a:lvl4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fld id="{8271D7EE-025D-44EF-94E5-6C8AC9194795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577126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Matrix 1/3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 bwMode="gray">
          <a:xfrm>
            <a:off x="35242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8271D7EE-025D-44EF-94E5-6C8AC9194795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grpSp>
        <p:nvGrpSpPr>
          <p:cNvPr id="22" name="Group 21"/>
          <p:cNvGrpSpPr/>
          <p:nvPr/>
        </p:nvGrpSpPr>
        <p:grpSpPr bwMode="gray">
          <a:xfrm>
            <a:off x="2618071" y="1296099"/>
            <a:ext cx="6195029" cy="4416888"/>
            <a:chOff x="3335008" y="1227538"/>
            <a:chExt cx="5473136" cy="3312666"/>
          </a:xfrm>
        </p:grpSpPr>
        <p:cxnSp>
          <p:nvCxnSpPr>
            <p:cNvPr id="23" name="Straight Arrow Connector 22"/>
            <p:cNvCxnSpPr/>
            <p:nvPr/>
          </p:nvCxnSpPr>
          <p:spPr bwMode="gray">
            <a:xfrm flipV="1">
              <a:off x="3335260" y="1228204"/>
              <a:ext cx="0" cy="331200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/>
            <p:cNvSpPr/>
            <p:nvPr/>
          </p:nvSpPr>
          <p:spPr bwMode="gray">
            <a:xfrm>
              <a:off x="3355442" y="1227538"/>
              <a:ext cx="246422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>
                  <a:solidFill>
                    <a:srgbClr val="000000"/>
                  </a:solidFill>
                </a:rPr>
                <a:t>++</a:t>
              </a:r>
              <a:endParaRPr lang="en-US" sz="1867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8561722" y="4315976"/>
              <a:ext cx="246422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>
                  <a:solidFill>
                    <a:srgbClr val="000000"/>
                  </a:solidFill>
                </a:rPr>
                <a:t>++</a:t>
              </a:r>
              <a:endParaRPr lang="en-US" sz="1867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3407841" y="4315976"/>
              <a:ext cx="141621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>
                  <a:solidFill>
                    <a:srgbClr val="000000"/>
                  </a:solidFill>
                </a:rPr>
                <a:t>--</a:t>
              </a:r>
              <a:endParaRPr lang="en-US" sz="1867" dirty="0">
                <a:solidFill>
                  <a:srgbClr val="000000"/>
                </a:solidFill>
              </a:endParaRPr>
            </a:p>
          </p:txBody>
        </p:sp>
        <p:cxnSp>
          <p:nvCxnSpPr>
            <p:cNvPr id="30" name="Straight Arrow Connector 29"/>
            <p:cNvCxnSpPr/>
            <p:nvPr/>
          </p:nvCxnSpPr>
          <p:spPr bwMode="gray">
            <a:xfrm>
              <a:off x="3335008" y="4540204"/>
              <a:ext cx="5448993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62"/>
          <p:cNvGrpSpPr/>
          <p:nvPr/>
        </p:nvGrpSpPr>
        <p:grpSpPr bwMode="gray">
          <a:xfrm>
            <a:off x="2934432" y="1295564"/>
            <a:ext cx="5857144" cy="4084544"/>
            <a:chOff x="813530" y="1454889"/>
            <a:chExt cx="7970470" cy="2993966"/>
          </a:xfrm>
        </p:grpSpPr>
        <p:sp>
          <p:nvSpPr>
            <p:cNvPr id="32" name="Rectangle 499"/>
            <p:cNvSpPr>
              <a:spLocks noChangeArrowheads="1"/>
            </p:cNvSpPr>
            <p:nvPr/>
          </p:nvSpPr>
          <p:spPr bwMode="gray">
            <a:xfrm>
              <a:off x="813530" y="1454889"/>
              <a:ext cx="7970470" cy="299269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srgbClr val="000000"/>
                </a:solidFill>
              </a:endParaRPr>
            </a:p>
          </p:txBody>
        </p:sp>
        <p:cxnSp>
          <p:nvCxnSpPr>
            <p:cNvPr id="33" name="Straight Connector 32"/>
            <p:cNvCxnSpPr/>
            <p:nvPr/>
          </p:nvCxnSpPr>
          <p:spPr bwMode="gray">
            <a:xfrm>
              <a:off x="4798765" y="1456156"/>
              <a:ext cx="0" cy="2992699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 bwMode="gray">
            <a:xfrm>
              <a:off x="813600" y="2952505"/>
              <a:ext cx="7970400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Text Placeholder 2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503124" y="2155623"/>
            <a:ext cx="318924" cy="2364429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91483" y="5592649"/>
            <a:ext cx="2437133" cy="246221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3339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x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/>
          <p:cNvSpPr>
            <a:spLocks noGrp="1"/>
          </p:cNvSpPr>
          <p:nvPr>
            <p:ph type="body" sz="quarter" idx="15"/>
          </p:nvPr>
        </p:nvSpPr>
        <p:spPr bwMode="gray">
          <a:xfrm>
            <a:off x="679357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8271D7EE-025D-44EF-94E5-6C8AC9194795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grpSp>
        <p:nvGrpSpPr>
          <p:cNvPr id="36" name="Group 35"/>
          <p:cNvGrpSpPr/>
          <p:nvPr/>
        </p:nvGrpSpPr>
        <p:grpSpPr bwMode="gray">
          <a:xfrm>
            <a:off x="479236" y="1296099"/>
            <a:ext cx="6186968" cy="4416888"/>
            <a:chOff x="3335008" y="1227538"/>
            <a:chExt cx="5473299" cy="3312666"/>
          </a:xfrm>
        </p:grpSpPr>
        <p:cxnSp>
          <p:nvCxnSpPr>
            <p:cNvPr id="37" name="Straight Arrow Connector 36"/>
            <p:cNvCxnSpPr/>
            <p:nvPr/>
          </p:nvCxnSpPr>
          <p:spPr bwMode="gray">
            <a:xfrm flipV="1">
              <a:off x="3335260" y="1228204"/>
              <a:ext cx="0" cy="331200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/>
            <p:cNvSpPr/>
            <p:nvPr/>
          </p:nvSpPr>
          <p:spPr bwMode="gray">
            <a:xfrm>
              <a:off x="3392482" y="1227538"/>
              <a:ext cx="246750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>
                  <a:solidFill>
                    <a:srgbClr val="000000"/>
                  </a:solidFill>
                </a:rPr>
                <a:t>++</a:t>
              </a:r>
              <a:endParaRPr lang="en-US" sz="1867" dirty="0">
                <a:solidFill>
                  <a:srgbClr val="000000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561557" y="4315976"/>
              <a:ext cx="246750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>
                  <a:solidFill>
                    <a:srgbClr val="000000"/>
                  </a:solidFill>
                </a:rPr>
                <a:t>++</a:t>
              </a:r>
              <a:endParaRPr lang="en-US" sz="1867" dirty="0">
                <a:solidFill>
                  <a:srgbClr val="000000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3444952" y="4315976"/>
              <a:ext cx="141809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>
                  <a:solidFill>
                    <a:srgbClr val="000000"/>
                  </a:solidFill>
                </a:rPr>
                <a:t>--</a:t>
              </a:r>
              <a:endParaRPr lang="en-US" sz="1867" dirty="0">
                <a:solidFill>
                  <a:srgbClr val="000000"/>
                </a:solidFill>
              </a:endParaRPr>
            </a:p>
          </p:txBody>
        </p:sp>
        <p:cxnSp>
          <p:nvCxnSpPr>
            <p:cNvPr id="41" name="Straight Arrow Connector 40"/>
            <p:cNvCxnSpPr/>
            <p:nvPr/>
          </p:nvCxnSpPr>
          <p:spPr bwMode="gray">
            <a:xfrm>
              <a:off x="3335008" y="4540204"/>
              <a:ext cx="5448993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oup 62"/>
          <p:cNvGrpSpPr/>
          <p:nvPr/>
        </p:nvGrpSpPr>
        <p:grpSpPr bwMode="gray">
          <a:xfrm>
            <a:off x="791308" y="1295564"/>
            <a:ext cx="5853217" cy="4084544"/>
            <a:chOff x="813530" y="1454889"/>
            <a:chExt cx="7970470" cy="2993966"/>
          </a:xfrm>
        </p:grpSpPr>
        <p:sp>
          <p:nvSpPr>
            <p:cNvPr id="43" name="Rectangle 499"/>
            <p:cNvSpPr>
              <a:spLocks noChangeArrowheads="1"/>
            </p:cNvSpPr>
            <p:nvPr/>
          </p:nvSpPr>
          <p:spPr bwMode="gray">
            <a:xfrm>
              <a:off x="813530" y="1454889"/>
              <a:ext cx="7970470" cy="299269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srgbClr val="000000"/>
                </a:solidFill>
              </a:endParaRPr>
            </a:p>
          </p:txBody>
        </p:sp>
        <p:cxnSp>
          <p:nvCxnSpPr>
            <p:cNvPr id="44" name="Straight Connector 43"/>
            <p:cNvCxnSpPr/>
            <p:nvPr/>
          </p:nvCxnSpPr>
          <p:spPr bwMode="gray">
            <a:xfrm>
              <a:off x="4798765" y="1456156"/>
              <a:ext cx="0" cy="2992699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 bwMode="gray">
            <a:xfrm>
              <a:off x="813600" y="2952505"/>
              <a:ext cx="7970400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Text Placeholder 2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55274" y="2155623"/>
            <a:ext cx="318924" cy="2364429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448360" y="5592649"/>
            <a:ext cx="2437133" cy="246221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548371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9" name="Straight Arrow Connector 38"/>
          <p:cNvCxnSpPr/>
          <p:nvPr/>
        </p:nvCxnSpPr>
        <p:spPr bwMode="gray">
          <a:xfrm>
            <a:off x="4756364" y="5713520"/>
            <a:ext cx="4031855" cy="0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/>
          <p:cNvSpPr>
            <a:spLocks noGrp="1"/>
          </p:cNvSpPr>
          <p:nvPr>
            <p:ph type="body" sz="quarter" idx="12"/>
          </p:nvPr>
        </p:nvSpPr>
        <p:spPr bwMode="gray">
          <a:xfrm>
            <a:off x="352425" y="1298829"/>
            <a:ext cx="4140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5" name="Straight Arrow Connector 34"/>
          <p:cNvCxnSpPr/>
          <p:nvPr/>
        </p:nvCxnSpPr>
        <p:spPr bwMode="gray">
          <a:xfrm flipV="1">
            <a:off x="4756363" y="1297520"/>
            <a:ext cx="0" cy="4416000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 bwMode="gray">
          <a:xfrm>
            <a:off x="4797499" y="1296634"/>
            <a:ext cx="278924" cy="28732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867" dirty="0">
                <a:solidFill>
                  <a:srgbClr val="000000"/>
                </a:solidFill>
              </a:rPr>
              <a:t>++</a:t>
            </a:r>
            <a:endParaRPr lang="en-US" sz="1867" dirty="0">
              <a:solidFill>
                <a:srgbClr val="000000"/>
              </a:solidFill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8551489" y="5414551"/>
            <a:ext cx="278924" cy="28732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867" dirty="0">
                <a:solidFill>
                  <a:srgbClr val="000000"/>
                </a:solidFill>
              </a:rPr>
              <a:t>++</a:t>
            </a:r>
            <a:endParaRPr lang="en-US" sz="1867" dirty="0">
              <a:solidFill>
                <a:srgbClr val="000000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4856811" y="5414551"/>
            <a:ext cx="160300" cy="28732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867" dirty="0">
                <a:solidFill>
                  <a:srgbClr val="000000"/>
                </a:solidFill>
              </a:rPr>
              <a:t>--</a:t>
            </a:r>
            <a:endParaRPr lang="en-US" sz="1867" dirty="0">
              <a:solidFill>
                <a:srgbClr val="000000"/>
              </a:solidFill>
            </a:endParaRPr>
          </a:p>
        </p:txBody>
      </p:sp>
      <p:grpSp>
        <p:nvGrpSpPr>
          <p:cNvPr id="40" name="Group 62"/>
          <p:cNvGrpSpPr/>
          <p:nvPr/>
        </p:nvGrpSpPr>
        <p:grpSpPr bwMode="gray">
          <a:xfrm>
            <a:off x="5117593" y="1296097"/>
            <a:ext cx="3677553" cy="4084544"/>
            <a:chOff x="813530" y="1454889"/>
            <a:chExt cx="7970470" cy="2993966"/>
          </a:xfrm>
        </p:grpSpPr>
        <p:sp>
          <p:nvSpPr>
            <p:cNvPr id="41" name="Rectangle 499"/>
            <p:cNvSpPr>
              <a:spLocks noChangeArrowheads="1"/>
            </p:cNvSpPr>
            <p:nvPr/>
          </p:nvSpPr>
          <p:spPr bwMode="gray">
            <a:xfrm>
              <a:off x="813530" y="1454889"/>
              <a:ext cx="7970470" cy="299269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srgbClr val="000000"/>
                </a:solidFill>
              </a:endParaRPr>
            </a:p>
          </p:txBody>
        </p:sp>
        <p:cxnSp>
          <p:nvCxnSpPr>
            <p:cNvPr id="42" name="Straight Connector 41"/>
            <p:cNvCxnSpPr/>
            <p:nvPr/>
          </p:nvCxnSpPr>
          <p:spPr bwMode="gray">
            <a:xfrm>
              <a:off x="4798765" y="1456156"/>
              <a:ext cx="0" cy="2992699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 bwMode="gray">
            <a:xfrm>
              <a:off x="813600" y="2952505"/>
              <a:ext cx="7970400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Text Placeholder 2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627681" y="2156156"/>
            <a:ext cx="318924" cy="2364429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737803" y="5655704"/>
            <a:ext cx="2437133" cy="246221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8271D7EE-025D-44EF-94E5-6C8AC9194795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2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6000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119562" y="6358645"/>
            <a:ext cx="385200" cy="3852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Footer Placeholder 36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38" name="Slide Number Placeholder 37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gray">
          <a:xfrm>
            <a:off x="352426" y="1298829"/>
            <a:ext cx="84384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6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08180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/>
          <p:cNvGrpSpPr/>
          <p:nvPr/>
        </p:nvGrpSpPr>
        <p:grpSpPr bwMode="gray">
          <a:xfrm>
            <a:off x="0" y="6243917"/>
            <a:ext cx="9144000" cy="614084"/>
            <a:chOff x="0" y="4682937"/>
            <a:chExt cx="9144000" cy="460563"/>
          </a:xfrm>
        </p:grpSpPr>
        <p:sp>
          <p:nvSpPr>
            <p:cNvPr id="34" name="Rectangle 33"/>
            <p:cNvSpPr/>
            <p:nvPr/>
          </p:nvSpPr>
          <p:spPr bwMode="gray">
            <a:xfrm>
              <a:off x="0" y="46915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FFFFFF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0" y="4682937"/>
              <a:ext cx="9144000" cy="144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36" name="Pentagon 28"/>
          <p:cNvSpPr/>
          <p:nvPr/>
        </p:nvSpPr>
        <p:spPr bwMode="gray">
          <a:xfrm>
            <a:off x="-1" y="6243917"/>
            <a:ext cx="804523" cy="614083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3718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8271D7EE-025D-44EF-94E5-6C8AC9194795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9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40" name="Freeform 39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1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2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3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4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5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6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7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8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9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grpSp>
        <p:nvGrpSpPr>
          <p:cNvPr id="27" name="Group 26"/>
          <p:cNvGrpSpPr/>
          <p:nvPr/>
        </p:nvGrpSpPr>
        <p:grpSpPr bwMode="gray">
          <a:xfrm>
            <a:off x="-1591365" y="338781"/>
            <a:ext cx="1531557" cy="840729"/>
            <a:chOff x="-720001" y="254084"/>
            <a:chExt cx="1080000" cy="630547"/>
          </a:xfrm>
        </p:grpSpPr>
        <p:cxnSp>
          <p:nvCxnSpPr>
            <p:cNvPr id="28" name="Straight Connector 27"/>
            <p:cNvCxnSpPr/>
            <p:nvPr/>
          </p:nvCxnSpPr>
          <p:spPr bwMode="gray">
            <a:xfrm>
              <a:off x="-720001" y="884631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-720001" y="254084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ectangle 29"/>
          <p:cNvSpPr/>
          <p:nvPr/>
        </p:nvSpPr>
        <p:spPr bwMode="gray">
          <a:xfrm>
            <a:off x="-1499807" y="338779"/>
            <a:ext cx="1313433" cy="840728"/>
          </a:xfrm>
          <a:prstGeom prst="rect">
            <a:avLst/>
          </a:prstGeom>
          <a:solidFill>
            <a:schemeClr val="bg2">
              <a:lumMod val="60000"/>
              <a:lumOff val="4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b" anchorCtr="0">
            <a:noAutofit/>
          </a:bodyPr>
          <a:lstStyle/>
          <a:p>
            <a:r>
              <a:rPr lang="en-US" sz="1000">
                <a:solidFill>
                  <a:srgbClr val="000000"/>
                </a:solidFill>
              </a:rPr>
              <a:t>Title area</a:t>
            </a:r>
          </a:p>
          <a:p>
            <a:r>
              <a:rPr lang="en-US" sz="1000">
                <a:solidFill>
                  <a:srgbClr val="000000"/>
                </a:solidFill>
              </a:rPr>
              <a:t>max over 2 lines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560948" y="5971352"/>
            <a:ext cx="1501140" cy="77210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" bIns="108000" rtlCol="0" anchor="t" anchorCtr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Insert Topic Icons</a:t>
            </a:r>
            <a:endParaRPr lang="en-US" sz="900" b="1" dirty="0">
              <a:solidFill>
                <a:srgbClr val="000000"/>
              </a:solidFill>
            </a:endParaRPr>
          </a:p>
          <a:p>
            <a:r>
              <a:rPr lang="en-US" sz="900">
                <a:solidFill>
                  <a:srgbClr val="000000"/>
                </a:solidFill>
              </a:rPr>
              <a:t>Click on the picture icon and browse to the location of the Topic Icons</a:t>
            </a:r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76549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 with AkzoNobel logo whit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edia Placeholder 42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0" y="-12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8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8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8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8" y="411834"/>
                  <a:pt x="6563878" y="411834"/>
                  <a:pt x="6563878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Movie </a:t>
            </a:r>
            <a:endParaRPr lang="en-US" dirty="0"/>
          </a:p>
          <a:p>
            <a:r>
              <a:rPr lang="en-US"/>
              <a:t>(in WMV format for Windows platform)</a:t>
            </a:r>
            <a:endParaRPr lang="en-US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en-US" dirty="0"/>
          </a:p>
          <a:p>
            <a:endParaRPr lang="en-US" dirty="0"/>
          </a:p>
        </p:txBody>
      </p:sp>
      <p:grpSp>
        <p:nvGrpSpPr>
          <p:cNvPr id="17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18" name="Freeform 17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9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2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3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4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5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6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7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8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15" name="Rectangle 14"/>
          <p:cNvSpPr/>
          <p:nvPr/>
        </p:nvSpPr>
        <p:spPr bwMode="gray">
          <a:xfrm>
            <a:off x="9288780" y="182684"/>
            <a:ext cx="1501140" cy="132610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Supported format for the Windows platform</a:t>
            </a:r>
            <a:endParaRPr lang="en-US" sz="900" b="1" dirty="0">
              <a:solidFill>
                <a:srgbClr val="000000"/>
              </a:solidFill>
            </a:endParaRPr>
          </a:p>
          <a:p>
            <a:r>
              <a:rPr lang="en-US" sz="900">
                <a:solidFill>
                  <a:srgbClr val="000000"/>
                </a:solidFill>
              </a:rPr>
              <a:t>• WMV</a:t>
            </a:r>
          </a:p>
          <a:p>
            <a:pPr>
              <a:defRPr/>
            </a:pPr>
            <a:r>
              <a:rPr lang="en-US" sz="900">
                <a:solidFill>
                  <a:srgbClr val="000000"/>
                </a:solidFill>
              </a:rPr>
              <a:t>• MPG</a:t>
            </a:r>
          </a:p>
          <a:p>
            <a:endParaRPr lang="en-US" sz="900">
              <a:solidFill>
                <a:srgbClr val="000000"/>
              </a:solidFill>
            </a:endParaRPr>
          </a:p>
          <a:p>
            <a:r>
              <a:rPr lang="en-US" sz="900">
                <a:solidFill>
                  <a:srgbClr val="000000"/>
                </a:solidFill>
              </a:rPr>
              <a:t>MP4 not (yet) fully supported without </a:t>
            </a:r>
          </a:p>
          <a:p>
            <a:r>
              <a:rPr lang="en-US" sz="900">
                <a:solidFill>
                  <a:srgbClr val="000000"/>
                </a:solidFill>
              </a:rPr>
              <a:t>QT Player</a:t>
            </a:r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84300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 with AkzoNobel logo blu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edia Placeholder 42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0" y="-12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7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7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7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7" y="411834"/>
                  <a:pt x="6563877" y="411834"/>
                  <a:pt x="6563877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6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Movie </a:t>
            </a:r>
            <a:endParaRPr lang="en-US" dirty="0"/>
          </a:p>
          <a:p>
            <a:r>
              <a:rPr lang="en-US"/>
              <a:t>(in WMV format for Windows platform)</a:t>
            </a:r>
            <a:endParaRPr lang="en-US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en-US" dirty="0"/>
          </a:p>
          <a:p>
            <a:endParaRPr lang="en-US" dirty="0"/>
          </a:p>
        </p:txBody>
      </p:sp>
      <p:grpSp>
        <p:nvGrpSpPr>
          <p:cNvPr id="27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28" name="Freeform 27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9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2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3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4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5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6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7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8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15" name="Rectangle 14"/>
          <p:cNvSpPr/>
          <p:nvPr/>
        </p:nvSpPr>
        <p:spPr bwMode="gray">
          <a:xfrm>
            <a:off x="9288780" y="182684"/>
            <a:ext cx="1501140" cy="132610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Supported format for the Windows platform</a:t>
            </a:r>
            <a:endParaRPr lang="en-US" sz="900" b="1" dirty="0">
              <a:solidFill>
                <a:srgbClr val="000000"/>
              </a:solidFill>
            </a:endParaRPr>
          </a:p>
          <a:p>
            <a:r>
              <a:rPr lang="en-US" sz="900">
                <a:solidFill>
                  <a:srgbClr val="000000"/>
                </a:solidFill>
              </a:rPr>
              <a:t>• WMV</a:t>
            </a:r>
          </a:p>
          <a:p>
            <a:pPr>
              <a:defRPr/>
            </a:pPr>
            <a:r>
              <a:rPr lang="en-US" sz="900">
                <a:solidFill>
                  <a:srgbClr val="000000"/>
                </a:solidFill>
              </a:rPr>
              <a:t>• MPG</a:t>
            </a:r>
          </a:p>
          <a:p>
            <a:endParaRPr lang="en-US" sz="900">
              <a:solidFill>
                <a:srgbClr val="000000"/>
              </a:solidFill>
            </a:endParaRPr>
          </a:p>
          <a:p>
            <a:r>
              <a:rPr lang="en-US" sz="900">
                <a:solidFill>
                  <a:srgbClr val="000000"/>
                </a:solidFill>
              </a:rPr>
              <a:t>MP4 not (yet) fully supported without </a:t>
            </a:r>
          </a:p>
          <a:p>
            <a:r>
              <a:rPr lang="en-US" sz="900">
                <a:solidFill>
                  <a:srgbClr val="000000"/>
                </a:solidFill>
              </a:rPr>
              <a:t>QT Player</a:t>
            </a:r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9166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 without AkzoNobel logo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0" y="0"/>
            <a:ext cx="9144000" cy="6858000"/>
          </a:xfrm>
          <a:noFill/>
        </p:spPr>
        <p:txBody>
          <a:bodyPr anchor="ctr" anchorCtr="0"/>
          <a:lstStyle>
            <a:lvl1pPr marL="0" marR="0" indent="0" algn="ctr" defTabSz="1219170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Movie </a:t>
            </a:r>
            <a:endParaRPr lang="en-US" dirty="0"/>
          </a:p>
          <a:p>
            <a:r>
              <a:rPr lang="en-US"/>
              <a:t>(in WMV format for Windows platform)</a:t>
            </a:r>
            <a:endParaRPr lang="en-US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 bwMode="gray">
          <a:xfrm>
            <a:off x="9288780" y="182684"/>
            <a:ext cx="1501140" cy="132610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Supported format for the Windows platform</a:t>
            </a:r>
            <a:endParaRPr lang="en-US" sz="900" b="1" dirty="0">
              <a:solidFill>
                <a:srgbClr val="000000"/>
              </a:solidFill>
            </a:endParaRPr>
          </a:p>
          <a:p>
            <a:r>
              <a:rPr lang="en-US" sz="900">
                <a:solidFill>
                  <a:srgbClr val="000000"/>
                </a:solidFill>
              </a:rPr>
              <a:t>• WMV</a:t>
            </a:r>
          </a:p>
          <a:p>
            <a:pPr>
              <a:defRPr/>
            </a:pPr>
            <a:r>
              <a:rPr lang="en-US" sz="900">
                <a:solidFill>
                  <a:srgbClr val="000000"/>
                </a:solidFill>
              </a:rPr>
              <a:t>• MPG</a:t>
            </a:r>
          </a:p>
          <a:p>
            <a:endParaRPr lang="en-US" sz="900">
              <a:solidFill>
                <a:srgbClr val="000000"/>
              </a:solidFill>
            </a:endParaRPr>
          </a:p>
          <a:p>
            <a:r>
              <a:rPr lang="en-US" sz="900">
                <a:solidFill>
                  <a:srgbClr val="000000"/>
                </a:solidFill>
              </a:rPr>
              <a:t>MP4 not (yet) fully supported without </a:t>
            </a:r>
          </a:p>
          <a:p>
            <a:r>
              <a:rPr lang="en-US" sz="900">
                <a:solidFill>
                  <a:srgbClr val="000000"/>
                </a:solidFill>
              </a:rPr>
              <a:t>QT Player</a:t>
            </a:r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12982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770115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Essentials">
    <p:bg bwMode="gray">
      <p:bgPr>
        <a:solidFill>
          <a:srgbClr val="B9C9D0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 bwMode="gray">
          <a:xfrm>
            <a:off x="-8100" y="-1"/>
            <a:ext cx="3052800" cy="6864000"/>
          </a:xfrm>
          <a:noFill/>
        </p:spPr>
        <p:txBody>
          <a:bodyPr lIns="144000" tIns="144000" rIns="144000" bIns="720000" anchor="ctr" anchorCtr="0"/>
          <a:lstStyle>
            <a:lvl1pPr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3045600" y="-1"/>
            <a:ext cx="3052800" cy="6864000"/>
          </a:xfrm>
          <a:noFill/>
        </p:spPr>
        <p:txBody>
          <a:bodyPr lIns="144000" tIns="144000" rIns="144000" bIns="720000" anchor="ctr" anchorCtr="0"/>
          <a:lstStyle>
            <a:lvl1pPr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Picture Placeholder 12"/>
          <p:cNvSpPr>
            <a:spLocks noGrp="1"/>
          </p:cNvSpPr>
          <p:nvPr>
            <p:ph type="pic" sz="quarter" idx="15"/>
          </p:nvPr>
        </p:nvSpPr>
        <p:spPr bwMode="gray">
          <a:xfrm>
            <a:off x="6096600" y="0"/>
            <a:ext cx="3052800" cy="6864000"/>
          </a:xfrm>
          <a:noFill/>
        </p:spPr>
        <p:txBody>
          <a:bodyPr lIns="144000" tIns="144000" rIns="144000" bIns="720000" anchor="ctr" anchorCtr="0"/>
          <a:lstStyle>
            <a:lvl1pPr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30"/>
          <p:cNvSpPr>
            <a:spLocks noGrp="1" noChangeAspect="1"/>
          </p:cNvSpPr>
          <p:nvPr>
            <p:ph type="body" sz="quarter" idx="16" hasCustomPrompt="1"/>
          </p:nvPr>
        </p:nvSpPr>
        <p:spPr bwMode="gray">
          <a:xfrm>
            <a:off x="1350883" y="3429000"/>
            <a:ext cx="1620000" cy="1620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 anchor="ctr" anchorCtr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6" name="Text Placeholder 30"/>
          <p:cNvSpPr>
            <a:spLocks noGrp="1" noChangeAspect="1"/>
          </p:cNvSpPr>
          <p:nvPr>
            <p:ph type="body" sz="quarter" idx="18" hasCustomPrompt="1"/>
          </p:nvPr>
        </p:nvSpPr>
        <p:spPr bwMode="gray">
          <a:xfrm>
            <a:off x="4398283" y="3429000"/>
            <a:ext cx="1620000" cy="1620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 anchor="ctr" anchorCtr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7" name="Text Placeholder 30"/>
          <p:cNvSpPr>
            <a:spLocks noGrp="1" noChangeAspect="1"/>
          </p:cNvSpPr>
          <p:nvPr>
            <p:ph type="body" sz="quarter" idx="19" hasCustomPrompt="1"/>
          </p:nvPr>
        </p:nvSpPr>
        <p:spPr bwMode="gray">
          <a:xfrm>
            <a:off x="7445683" y="3429000"/>
            <a:ext cx="1620000" cy="1620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 anchor="ctr" anchorCtr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9" name="Rectangle 8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b="1" dirty="0">
                  <a:solidFill>
                    <a:srgbClr val="000000"/>
                  </a:solidFill>
                </a:rPr>
                <a:t>Crop picture</a:t>
              </a:r>
            </a:p>
            <a:p>
              <a:r>
                <a:rPr lang="en-US" sz="900" dirty="0">
                  <a:solidFill>
                    <a:srgbClr val="000000"/>
                  </a:solidFill>
                </a:rPr>
                <a:t>Select picture &gt; click on tab “Picture Tools &gt; Format”</a:t>
              </a: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Click on the icon </a:t>
              </a:r>
              <a:br>
                <a:rPr lang="en-US" sz="900" dirty="0">
                  <a:solidFill>
                    <a:srgbClr val="000000"/>
                  </a:solidFill>
                </a:rPr>
              </a:br>
              <a:r>
                <a:rPr lang="en-US" sz="900" dirty="0">
                  <a:solidFill>
                    <a:srgbClr val="000000"/>
                  </a:solidFill>
                </a:rPr>
                <a:t>above “Crop”</a:t>
              </a:r>
            </a:p>
            <a:p>
              <a:endParaRPr lang="en-US" sz="900" dirty="0">
                <a:solidFill>
                  <a:srgbClr val="000000"/>
                </a:solidFill>
              </a:endParaRPr>
            </a:p>
            <a:p>
              <a:r>
                <a:rPr lang="en-US" sz="900" dirty="0">
                  <a:solidFill>
                    <a:srgbClr val="000000"/>
                  </a:solidFill>
                </a:rPr>
                <a:t>You will see crop and scale markers on the corners</a:t>
              </a: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17" name="Rectangle 16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19" name="Straight Arrow Connector 18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>
              <a:stCxn id="11" idx="0"/>
              <a:endCxn id="11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>
              <a:stCxn id="11" idx="3"/>
              <a:endCxn id="11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2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23"/>
          <p:cNvGrpSpPr/>
          <p:nvPr userDrawn="1"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27" name="Rectangle 26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b="1" dirty="0">
                  <a:solidFill>
                    <a:srgbClr val="000000"/>
                  </a:solidFill>
                </a:rPr>
                <a:t>Crop picture</a:t>
              </a:r>
            </a:p>
            <a:p>
              <a:r>
                <a:rPr lang="en-US" sz="900" dirty="0">
                  <a:solidFill>
                    <a:srgbClr val="000000"/>
                  </a:solidFill>
                </a:rPr>
                <a:t>Select picture &gt; click on tab “Picture Tools &gt; Format”</a:t>
              </a:r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Click on the icon </a:t>
              </a:r>
              <a:br>
                <a:rPr lang="en-US" sz="900" dirty="0">
                  <a:solidFill>
                    <a:srgbClr val="000000"/>
                  </a:solidFill>
                </a:rPr>
              </a:br>
              <a:r>
                <a:rPr lang="en-US" sz="900" dirty="0">
                  <a:solidFill>
                    <a:srgbClr val="000000"/>
                  </a:solidFill>
                </a:rPr>
                <a:t>above “Crop”</a:t>
              </a:r>
            </a:p>
            <a:p>
              <a:endParaRPr lang="en-US" sz="900" dirty="0">
                <a:solidFill>
                  <a:srgbClr val="000000"/>
                </a:solidFill>
              </a:endParaRPr>
            </a:p>
            <a:p>
              <a:r>
                <a:rPr lang="en-US" sz="900" dirty="0">
                  <a:solidFill>
                    <a:srgbClr val="000000"/>
                  </a:solidFill>
                </a:rPr>
                <a:t>You will see crop and scale markers on the corners</a:t>
              </a:r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34" name="Rectangle 33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36" name="Straight Arrow Connector 35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>
              <a:stCxn id="11" idx="0"/>
              <a:endCxn id="11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>
              <a:stCxn id="11" idx="3"/>
              <a:endCxn id="11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val 39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US" dirty="0" err="1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4471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bg bwMode="gray">
      <p:bgPr>
        <a:gradFill>
          <a:gsLst>
            <a:gs pos="10000">
              <a:srgbClr val="E4312C"/>
            </a:gs>
            <a:gs pos="90000">
              <a:srgbClr val="F18E0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60000" y="2338075"/>
            <a:ext cx="8431576" cy="3675377"/>
          </a:xfrm>
        </p:spPr>
        <p:txBody>
          <a:bodyPr anchor="t" anchorCtr="0"/>
          <a:lstStyle>
            <a:lvl1pPr>
              <a:lnSpc>
                <a:spcPct val="80000"/>
              </a:lnSpc>
              <a:defRPr sz="9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4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15" name="Freeform 14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1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2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91002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1298829"/>
            <a:ext cx="4140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4651575" y="1298829"/>
            <a:ext cx="4140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8645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99067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1298829"/>
            <a:ext cx="271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3213000" y="1298829"/>
            <a:ext cx="271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6"/>
          <p:cNvSpPr>
            <a:spLocks noGrp="1"/>
          </p:cNvSpPr>
          <p:nvPr>
            <p:ph sz="quarter" idx="20"/>
          </p:nvPr>
        </p:nvSpPr>
        <p:spPr bwMode="gray">
          <a:xfrm>
            <a:off x="6073575" y="1298829"/>
            <a:ext cx="271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3120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vmlDrawing" Target="../drawings/vmlDrawing17.v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34" Type="http://schemas.openxmlformats.org/officeDocument/2006/relationships/slideLayout" Target="../slideLayouts/slideLayout73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41" Type="http://schemas.openxmlformats.org/officeDocument/2006/relationships/oleObject" Target="../embeddings/oleObject17.bin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slideLayout" Target="../slideLayouts/slideLayout76.xml"/><Relationship Id="rId40" Type="http://schemas.openxmlformats.org/officeDocument/2006/relationships/tags" Target="../tags/tag17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4" Type="http://schemas.openxmlformats.org/officeDocument/2006/relationships/image" Target="../media/image3.png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slideLayout" Target="../slideLayouts/slideLayout74.xml"/><Relationship Id="rId43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25" name="Freeform 24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7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4" name="Group 3"/>
          <p:cNvGrpSpPr/>
          <p:nvPr/>
        </p:nvGrpSpPr>
        <p:grpSpPr bwMode="gray">
          <a:xfrm>
            <a:off x="0" y="6243917"/>
            <a:ext cx="9144000" cy="614084"/>
            <a:chOff x="0" y="4682937"/>
            <a:chExt cx="9144000" cy="460563"/>
          </a:xfrm>
        </p:grpSpPr>
        <p:sp>
          <p:nvSpPr>
            <p:cNvPr id="43" name="Rectangle 42"/>
            <p:cNvSpPr/>
            <p:nvPr/>
          </p:nvSpPr>
          <p:spPr bwMode="gray">
            <a:xfrm>
              <a:off x="0" y="46915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noProof="0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0" y="4682937"/>
              <a:ext cx="9144000" cy="144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4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40" name="think-cell Slide" r:id="rId43" imgW="360" imgH="360" progId="">
                  <p:embed/>
                </p:oleObj>
              </mc:Choice>
              <mc:Fallback>
                <p:oleObj name="think-cell Slide" r:id="rId43" imgW="360" imgH="360" progId="">
                  <p:embed/>
                  <p:pic>
                    <p:nvPicPr>
                      <p:cNvPr id="0" name="Picture 3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195859"/>
            <a:ext cx="5868000" cy="960000"/>
          </a:xfrm>
          <a:prstGeom prst="rect">
            <a:avLst/>
          </a:prstGeom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6" y="1292480"/>
            <a:ext cx="8439150" cy="47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957694" y="6359459"/>
            <a:ext cx="2827532" cy="38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lvl1pPr marL="0" algn="r" defTabSz="1219170" rtl="0" eaLnBrk="1" latinLnBrk="0" hangingPunct="1">
              <a:defRPr lang="en-US" sz="1200" b="1" kern="1200" smtClean="0">
                <a:solidFill>
                  <a:srgbClr val="B7B9BA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791575" y="6359459"/>
            <a:ext cx="252000" cy="38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lvl1pPr marL="0" algn="r" defTabSz="1219170" rtl="0" eaLnBrk="1" latinLnBrk="0" hangingPunct="1">
              <a:defRPr lang="nl-NL" sz="1200" b="1" kern="1200" smtClean="0">
                <a:solidFill>
                  <a:srgbClr val="B7B9BA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271D7EE-025D-44EF-94E5-6C8AC9194795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6" name="Group 5"/>
          <p:cNvGrpSpPr/>
          <p:nvPr/>
        </p:nvGrpSpPr>
        <p:grpSpPr bwMode="gray">
          <a:xfrm>
            <a:off x="-1591365" y="338781"/>
            <a:ext cx="1531557" cy="840729"/>
            <a:chOff x="-720001" y="254084"/>
            <a:chExt cx="1080000" cy="630547"/>
          </a:xfrm>
        </p:grpSpPr>
        <p:cxnSp>
          <p:nvCxnSpPr>
            <p:cNvPr id="78" name="Straight Connector 77"/>
            <p:cNvCxnSpPr/>
            <p:nvPr/>
          </p:nvCxnSpPr>
          <p:spPr bwMode="gray">
            <a:xfrm>
              <a:off x="-720001" y="884631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/>
          </p:nvCxnSpPr>
          <p:spPr bwMode="gray">
            <a:xfrm>
              <a:off x="-720001" y="254084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0" name="Rectangle 79"/>
          <p:cNvSpPr/>
          <p:nvPr/>
        </p:nvSpPr>
        <p:spPr bwMode="gray">
          <a:xfrm>
            <a:off x="-1499807" y="338779"/>
            <a:ext cx="1313433" cy="840728"/>
          </a:xfrm>
          <a:prstGeom prst="rect">
            <a:avLst/>
          </a:prstGeom>
          <a:solidFill>
            <a:schemeClr val="bg2">
              <a:lumMod val="60000"/>
              <a:lumOff val="4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72000" bIns="72000" rtlCol="0" anchor="b" anchorCtr="0">
            <a:noAutofit/>
          </a:bodyPr>
          <a:lstStyle/>
          <a:p>
            <a:pPr algn="l"/>
            <a:r>
              <a:rPr lang="en-US" sz="1000" b="0">
                <a:solidFill>
                  <a:schemeClr val="tx1"/>
                </a:solidFill>
              </a:rPr>
              <a:t>Title area</a:t>
            </a:r>
          </a:p>
          <a:p>
            <a:pPr algn="l"/>
            <a:r>
              <a:rPr lang="en-US" sz="1000" b="0">
                <a:solidFill>
                  <a:schemeClr val="tx1"/>
                </a:solidFill>
              </a:rPr>
              <a:t>max over 2 lines</a:t>
            </a:r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122" name="Pentagon 28"/>
          <p:cNvSpPr/>
          <p:nvPr/>
        </p:nvSpPr>
        <p:spPr bwMode="gray">
          <a:xfrm>
            <a:off x="-1" y="6243917"/>
            <a:ext cx="804523" cy="614083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6" name="Rectangle 55"/>
          <p:cNvSpPr/>
          <p:nvPr/>
        </p:nvSpPr>
        <p:spPr bwMode="gray">
          <a:xfrm>
            <a:off x="-1560948" y="5971352"/>
            <a:ext cx="1501140" cy="77210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" bIns="108000" rtlCol="0" anchor="t" anchorCtr="0">
            <a:sp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Insert Topic Icons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Click on the picture icon and </a:t>
            </a:r>
            <a:r>
              <a:rPr lang="en-US" sz="900" b="0" i="0" baseline="0">
                <a:solidFill>
                  <a:schemeClr val="tx1"/>
                </a:solidFill>
              </a:rPr>
              <a:t>browse to the location of </a:t>
            </a:r>
            <a:r>
              <a:rPr lang="en-US" sz="900" b="0" baseline="0">
                <a:solidFill>
                  <a:schemeClr val="tx1"/>
                </a:solidFill>
              </a:rPr>
              <a:t>the Topic Icons</a:t>
            </a:r>
            <a:endParaRPr lang="en-US" sz="900" b="0" dirty="0">
              <a:solidFill>
                <a:schemeClr val="tx1"/>
              </a:solidFill>
            </a:endParaRPr>
          </a:p>
        </p:txBody>
      </p:sp>
      <p:sp>
        <p:nvSpPr>
          <p:cNvPr id="57" name="Rectangle 56"/>
          <p:cNvSpPr/>
          <p:nvPr/>
        </p:nvSpPr>
        <p:spPr bwMode="gray">
          <a:xfrm>
            <a:off x="-1591365" y="1405512"/>
            <a:ext cx="1531557" cy="180249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8000" bIns="108000" rtlCol="0" anchor="b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AkzoNobel Bullets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Only use the </a:t>
            </a:r>
            <a:r>
              <a:rPr lang="en-US" sz="900" b="0" u="sng">
                <a:solidFill>
                  <a:schemeClr val="tx1"/>
                </a:solidFill>
              </a:rPr>
              <a:t>List Level buttons</a:t>
            </a:r>
            <a:r>
              <a:rPr lang="en-US" sz="900" b="0">
                <a:solidFill>
                  <a:schemeClr val="tx1"/>
                </a:solidFill>
              </a:rPr>
              <a:t> to apply the</a:t>
            </a:r>
            <a:r>
              <a:rPr lang="en-US" sz="900" b="0" baseline="0">
                <a:solidFill>
                  <a:schemeClr val="tx1"/>
                </a:solidFill>
              </a:rPr>
              <a:t> </a:t>
            </a:r>
            <a:r>
              <a:rPr lang="en-US" sz="900" b="0" i="0" u="none" baseline="0">
                <a:solidFill>
                  <a:schemeClr val="tx1"/>
                </a:solidFill>
              </a:rPr>
              <a:t>AkzoNobel Branded Bullets</a:t>
            </a:r>
            <a:endParaRPr lang="en-US" sz="900" b="0" i="0" u="none" dirty="0">
              <a:solidFill>
                <a:schemeClr val="tx1"/>
              </a:solidFill>
            </a:endParaRPr>
          </a:p>
        </p:txBody>
      </p:sp>
      <p:grpSp>
        <p:nvGrpSpPr>
          <p:cNvPr id="58" name="Group 57"/>
          <p:cNvGrpSpPr/>
          <p:nvPr/>
        </p:nvGrpSpPr>
        <p:grpSpPr bwMode="gray">
          <a:xfrm>
            <a:off x="-1493181" y="1531453"/>
            <a:ext cx="1335187" cy="795026"/>
            <a:chOff x="-1573454" y="1531453"/>
            <a:chExt cx="1335187" cy="795026"/>
          </a:xfrm>
        </p:grpSpPr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45" cstate="print"/>
            <a:srcRect l="18732" t="14956" r="50206" b="52163"/>
            <a:stretch>
              <a:fillRect/>
            </a:stretch>
          </p:blipFill>
          <p:spPr bwMode="gray">
            <a:xfrm>
              <a:off x="-1573454" y="1531453"/>
              <a:ext cx="1335187" cy="795026"/>
            </a:xfrm>
            <a:custGeom>
              <a:avLst/>
              <a:gdLst>
                <a:gd name="connsiteX0" fmla="*/ 0 w 2840306"/>
                <a:gd name="connsiteY0" fmla="*/ 0 h 1691236"/>
                <a:gd name="connsiteX1" fmla="*/ 2840306 w 2840306"/>
                <a:gd name="connsiteY1" fmla="*/ 0 h 1691236"/>
                <a:gd name="connsiteX2" fmla="*/ 2840306 w 2840306"/>
                <a:gd name="connsiteY2" fmla="*/ 1691236 h 1691236"/>
                <a:gd name="connsiteX3" fmla="*/ 0 w 2840306"/>
                <a:gd name="connsiteY3" fmla="*/ 1691236 h 169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0306" h="1691236">
                  <a:moveTo>
                    <a:pt x="0" y="0"/>
                  </a:moveTo>
                  <a:lnTo>
                    <a:pt x="2840306" y="0"/>
                  </a:lnTo>
                  <a:lnTo>
                    <a:pt x="2840306" y="1691236"/>
                  </a:lnTo>
                  <a:lnTo>
                    <a:pt x="0" y="1691236"/>
                  </a:lnTo>
                  <a:close/>
                </a:path>
              </a:pathLst>
            </a:custGeom>
          </p:spPr>
        </p:pic>
        <p:sp>
          <p:nvSpPr>
            <p:cNvPr id="60" name="Multiply 59"/>
            <p:cNvSpPr/>
            <p:nvPr/>
          </p:nvSpPr>
          <p:spPr bwMode="gray">
            <a:xfrm>
              <a:off x="-1571627" y="1551174"/>
              <a:ext cx="245272" cy="245272"/>
            </a:xfrm>
            <a:prstGeom prst="mathMultiply">
              <a:avLst>
                <a:gd name="adj1" fmla="val 8315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041739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  <p:sldLayoutId id="2147483767" r:id="rId19"/>
    <p:sldLayoutId id="2147483768" r:id="rId20"/>
    <p:sldLayoutId id="2147483769" r:id="rId21"/>
    <p:sldLayoutId id="2147483770" r:id="rId22"/>
    <p:sldLayoutId id="2147483771" r:id="rId23"/>
    <p:sldLayoutId id="2147483772" r:id="rId24"/>
    <p:sldLayoutId id="2147483773" r:id="rId25"/>
    <p:sldLayoutId id="2147483774" r:id="rId26"/>
    <p:sldLayoutId id="2147483775" r:id="rId27"/>
    <p:sldLayoutId id="2147483776" r:id="rId28"/>
    <p:sldLayoutId id="2147483777" r:id="rId29"/>
    <p:sldLayoutId id="2147483778" r:id="rId30"/>
    <p:sldLayoutId id="2147483779" r:id="rId31"/>
    <p:sldLayoutId id="2147483780" r:id="rId32"/>
    <p:sldLayoutId id="2147483781" r:id="rId33"/>
    <p:sldLayoutId id="2147483782" r:id="rId34"/>
    <p:sldLayoutId id="2147483783" r:id="rId35"/>
    <p:sldLayoutId id="2147483784" r:id="rId36"/>
    <p:sldLayoutId id="2147483785" r:id="rId37"/>
    <p:sldLayoutId id="2147483974" r:id="rId38"/>
    <p:sldLayoutId id="2147483975" r:id="rId39"/>
  </p:sldLayoutIdLst>
  <p:txStyles>
    <p:titleStyle>
      <a:lvl1pPr marL="0" algn="l" defTabSz="1219170" rtl="0" eaLnBrk="1" latinLnBrk="0" hangingPunct="1">
        <a:lnSpc>
          <a:spcPct val="90000"/>
        </a:lnSpc>
        <a:spcBef>
          <a:spcPct val="0"/>
        </a:spcBef>
        <a:buNone/>
        <a:defRPr lang="en-GB" sz="3000" b="1" kern="0">
          <a:solidFill>
            <a:schemeClr val="accent1"/>
          </a:solidFill>
          <a:latin typeface="+mj-lt"/>
          <a:ea typeface="+mn-ea"/>
          <a:cs typeface="+mn-cs"/>
        </a:defRPr>
      </a:lvl1pPr>
    </p:titleStyle>
    <p:bodyStyle>
      <a:lvl1pPr marL="0" indent="0" algn="l" defTabSz="1219170" rtl="0" eaLnBrk="1" latinLnBrk="0" hangingPunct="1">
        <a:lnSpc>
          <a:spcPct val="80000"/>
        </a:lnSpc>
        <a:spcBef>
          <a:spcPts val="800"/>
        </a:spcBef>
        <a:spcAft>
          <a:spcPts val="300"/>
        </a:spcAft>
        <a:buClr>
          <a:schemeClr val="accent1"/>
        </a:buClr>
        <a:buFont typeface="Arial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1219170" rtl="0" eaLnBrk="1" latinLnBrk="0" hangingPunct="1">
        <a:lnSpc>
          <a:spcPct val="80000"/>
        </a:lnSpc>
        <a:spcBef>
          <a:spcPts val="800"/>
        </a:spcBef>
        <a:spcAft>
          <a:spcPts val="300"/>
        </a:spcAft>
        <a:buClr>
          <a:schemeClr val="accent1"/>
        </a:buClr>
        <a:buFontTx/>
        <a:buBlip>
          <a:blip r:embed="rId46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1219170" rtl="0" eaLnBrk="1" latinLnBrk="0" hangingPunct="1">
        <a:lnSpc>
          <a:spcPct val="80000"/>
        </a:lnSpc>
        <a:spcBef>
          <a:spcPts val="267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9649" indent="-239994" algn="l" defTabSz="1219170" rtl="0" eaLnBrk="1" latinLnBrk="0" hangingPunct="1">
        <a:lnSpc>
          <a:spcPct val="80000"/>
        </a:lnSpc>
        <a:spcBef>
          <a:spcPts val="267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59976" indent="-239994" algn="l" defTabSz="1219170" rtl="0" eaLnBrk="1" latinLnBrk="0" hangingPunct="1">
        <a:lnSpc>
          <a:spcPct val="80000"/>
        </a:lnSpc>
        <a:spcBef>
          <a:spcPts val="267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25" name="Freeform 24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9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8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9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0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1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2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4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5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47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7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 bwMode="gray">
          <a:xfrm>
            <a:off x="0" y="6243917"/>
            <a:ext cx="9144000" cy="614084"/>
            <a:chOff x="0" y="4682937"/>
            <a:chExt cx="9144000" cy="460563"/>
          </a:xfrm>
        </p:grpSpPr>
        <p:sp>
          <p:nvSpPr>
            <p:cNvPr id="43" name="Rectangle 42"/>
            <p:cNvSpPr/>
            <p:nvPr/>
          </p:nvSpPr>
          <p:spPr bwMode="gray">
            <a:xfrm>
              <a:off x="0" y="46915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0" y="4682937"/>
              <a:ext cx="9144000" cy="144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40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47" name="think-cell Slide" r:id="rId41" imgW="360" imgH="360" progId="">
                  <p:embed/>
                </p:oleObj>
              </mc:Choice>
              <mc:Fallback>
                <p:oleObj name="think-cell Slide" r:id="rId41" imgW="360" imgH="360" progId="">
                  <p:embed/>
                  <p:pic>
                    <p:nvPicPr>
                      <p:cNvPr id="0" name="Picture 3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195859"/>
            <a:ext cx="5868000" cy="960000"/>
          </a:xfrm>
          <a:prstGeom prst="rect">
            <a:avLst/>
          </a:prstGeom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6" y="1292480"/>
            <a:ext cx="8439150" cy="47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957694" y="6359459"/>
            <a:ext cx="2827532" cy="38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lvl1pPr marL="0" algn="r" defTabSz="1219170" rtl="0" eaLnBrk="1" latinLnBrk="0" hangingPunct="1">
              <a:defRPr lang="en-US" sz="1200" b="1" kern="1200" smtClean="0">
                <a:solidFill>
                  <a:srgbClr val="B7B9BA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791575" y="6359459"/>
            <a:ext cx="252000" cy="38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lvl1pPr marL="0" algn="r" defTabSz="1219170" rtl="0" eaLnBrk="1" latinLnBrk="0" hangingPunct="1">
              <a:defRPr lang="nl-NL" sz="1200" b="1" kern="1200" smtClean="0">
                <a:solidFill>
                  <a:srgbClr val="B7B9BA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271D7EE-025D-44EF-94E5-6C8AC9194795}" type="slidenum">
              <a:rPr lang="en-GB"/>
              <a:pPr/>
              <a:t>‹#›</a:t>
            </a:fld>
            <a:endParaRPr lang="en-GB"/>
          </a:p>
        </p:txBody>
      </p:sp>
      <p:grpSp>
        <p:nvGrpSpPr>
          <p:cNvPr id="6" name="Group 5"/>
          <p:cNvGrpSpPr/>
          <p:nvPr/>
        </p:nvGrpSpPr>
        <p:grpSpPr bwMode="gray">
          <a:xfrm>
            <a:off x="-1591365" y="338781"/>
            <a:ext cx="1531557" cy="840729"/>
            <a:chOff x="-720001" y="254084"/>
            <a:chExt cx="1080000" cy="630547"/>
          </a:xfrm>
        </p:grpSpPr>
        <p:cxnSp>
          <p:nvCxnSpPr>
            <p:cNvPr id="78" name="Straight Connector 77"/>
            <p:cNvCxnSpPr/>
            <p:nvPr/>
          </p:nvCxnSpPr>
          <p:spPr bwMode="gray">
            <a:xfrm>
              <a:off x="-720001" y="884631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/>
          </p:nvCxnSpPr>
          <p:spPr bwMode="gray">
            <a:xfrm>
              <a:off x="-720001" y="254084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0" name="Rectangle 79"/>
          <p:cNvSpPr/>
          <p:nvPr/>
        </p:nvSpPr>
        <p:spPr bwMode="gray">
          <a:xfrm>
            <a:off x="-1499807" y="338779"/>
            <a:ext cx="1313433" cy="840728"/>
          </a:xfrm>
          <a:prstGeom prst="rect">
            <a:avLst/>
          </a:prstGeom>
          <a:solidFill>
            <a:schemeClr val="bg2">
              <a:lumMod val="60000"/>
              <a:lumOff val="4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72000" bIns="72000" rtlCol="0" anchor="b" anchorCtr="0">
            <a:noAutofit/>
          </a:bodyPr>
          <a:lstStyle/>
          <a:p>
            <a:r>
              <a:rPr lang="en-US" sz="1000">
                <a:solidFill>
                  <a:srgbClr val="000000"/>
                </a:solidFill>
              </a:rPr>
              <a:t>Title area</a:t>
            </a:r>
          </a:p>
          <a:p>
            <a:r>
              <a:rPr lang="en-US" sz="1000">
                <a:solidFill>
                  <a:srgbClr val="000000"/>
                </a:solidFill>
              </a:rPr>
              <a:t>max over 2 lines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22" name="Pentagon 28"/>
          <p:cNvSpPr/>
          <p:nvPr/>
        </p:nvSpPr>
        <p:spPr bwMode="gray">
          <a:xfrm>
            <a:off x="-1" y="6243917"/>
            <a:ext cx="804523" cy="614083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6" name="Rectangle 55"/>
          <p:cNvSpPr/>
          <p:nvPr/>
        </p:nvSpPr>
        <p:spPr bwMode="gray">
          <a:xfrm>
            <a:off x="-1560948" y="5971352"/>
            <a:ext cx="1501140" cy="77210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" bIns="108000" rtlCol="0" anchor="t" anchorCtr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Insert Topic Icons</a:t>
            </a:r>
            <a:endParaRPr lang="en-US" sz="900" b="1" dirty="0">
              <a:solidFill>
                <a:srgbClr val="000000"/>
              </a:solidFill>
            </a:endParaRPr>
          </a:p>
          <a:p>
            <a:r>
              <a:rPr lang="en-US" sz="900">
                <a:solidFill>
                  <a:srgbClr val="000000"/>
                </a:solidFill>
              </a:rPr>
              <a:t>Click on the picture icon and browse to the location of the Topic Icons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57" name="Rectangle 56"/>
          <p:cNvSpPr/>
          <p:nvPr/>
        </p:nvSpPr>
        <p:spPr bwMode="gray">
          <a:xfrm>
            <a:off x="-1591365" y="1405512"/>
            <a:ext cx="1531557" cy="180249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8000" bIns="108000" rtlCol="0" anchor="b" anchorCtr="0">
            <a:no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AkzoNobel Bullets</a:t>
            </a:r>
            <a:endParaRPr lang="en-US" sz="900" b="1" dirty="0">
              <a:solidFill>
                <a:srgbClr val="000000"/>
              </a:solidFill>
            </a:endParaRPr>
          </a:p>
          <a:p>
            <a:r>
              <a:rPr lang="en-US" sz="900">
                <a:solidFill>
                  <a:srgbClr val="000000"/>
                </a:solidFill>
              </a:rPr>
              <a:t>Only use the </a:t>
            </a:r>
            <a:r>
              <a:rPr lang="en-US" sz="900" u="sng">
                <a:solidFill>
                  <a:srgbClr val="000000"/>
                </a:solidFill>
              </a:rPr>
              <a:t>List Level buttons</a:t>
            </a:r>
            <a:r>
              <a:rPr lang="en-US" sz="900">
                <a:solidFill>
                  <a:srgbClr val="000000"/>
                </a:solidFill>
              </a:rPr>
              <a:t> to apply the AkzoNobel Branded Bullets</a:t>
            </a:r>
            <a:endParaRPr lang="en-US" sz="900" dirty="0">
              <a:solidFill>
                <a:srgbClr val="000000"/>
              </a:solidFill>
            </a:endParaRPr>
          </a:p>
        </p:txBody>
      </p:sp>
      <p:grpSp>
        <p:nvGrpSpPr>
          <p:cNvPr id="58" name="Group 57"/>
          <p:cNvGrpSpPr/>
          <p:nvPr/>
        </p:nvGrpSpPr>
        <p:grpSpPr bwMode="gray">
          <a:xfrm>
            <a:off x="-1493181" y="1531453"/>
            <a:ext cx="1335187" cy="795026"/>
            <a:chOff x="-1573454" y="1531453"/>
            <a:chExt cx="1335187" cy="795026"/>
          </a:xfrm>
        </p:grpSpPr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43" cstate="print"/>
            <a:srcRect l="18732" t="14956" r="50206" b="52163"/>
            <a:stretch>
              <a:fillRect/>
            </a:stretch>
          </p:blipFill>
          <p:spPr bwMode="gray">
            <a:xfrm>
              <a:off x="-1573454" y="1531453"/>
              <a:ext cx="1335187" cy="795026"/>
            </a:xfrm>
            <a:custGeom>
              <a:avLst/>
              <a:gdLst>
                <a:gd name="connsiteX0" fmla="*/ 0 w 2840306"/>
                <a:gd name="connsiteY0" fmla="*/ 0 h 1691236"/>
                <a:gd name="connsiteX1" fmla="*/ 2840306 w 2840306"/>
                <a:gd name="connsiteY1" fmla="*/ 0 h 1691236"/>
                <a:gd name="connsiteX2" fmla="*/ 2840306 w 2840306"/>
                <a:gd name="connsiteY2" fmla="*/ 1691236 h 1691236"/>
                <a:gd name="connsiteX3" fmla="*/ 0 w 2840306"/>
                <a:gd name="connsiteY3" fmla="*/ 1691236 h 169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0306" h="1691236">
                  <a:moveTo>
                    <a:pt x="0" y="0"/>
                  </a:moveTo>
                  <a:lnTo>
                    <a:pt x="2840306" y="0"/>
                  </a:lnTo>
                  <a:lnTo>
                    <a:pt x="2840306" y="1691236"/>
                  </a:lnTo>
                  <a:lnTo>
                    <a:pt x="0" y="1691236"/>
                  </a:lnTo>
                  <a:close/>
                </a:path>
              </a:pathLst>
            </a:custGeom>
          </p:spPr>
        </p:pic>
        <p:sp>
          <p:nvSpPr>
            <p:cNvPr id="60" name="Multiply 59"/>
            <p:cNvSpPr/>
            <p:nvPr/>
          </p:nvSpPr>
          <p:spPr bwMode="gray">
            <a:xfrm>
              <a:off x="-1571627" y="1551174"/>
              <a:ext cx="245272" cy="245272"/>
            </a:xfrm>
            <a:prstGeom prst="mathMultiply">
              <a:avLst>
                <a:gd name="adj1" fmla="val 8315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endParaRPr lang="en-GB" dirty="0" err="1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8514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  <p:sldLayoutId id="2147483946" r:id="rId10"/>
    <p:sldLayoutId id="2147483947" r:id="rId11"/>
    <p:sldLayoutId id="2147483948" r:id="rId12"/>
    <p:sldLayoutId id="2147483949" r:id="rId13"/>
    <p:sldLayoutId id="2147483950" r:id="rId14"/>
    <p:sldLayoutId id="2147483951" r:id="rId15"/>
    <p:sldLayoutId id="2147483952" r:id="rId16"/>
    <p:sldLayoutId id="2147483953" r:id="rId17"/>
    <p:sldLayoutId id="2147483954" r:id="rId18"/>
    <p:sldLayoutId id="2147483955" r:id="rId19"/>
    <p:sldLayoutId id="2147483956" r:id="rId20"/>
    <p:sldLayoutId id="2147483957" r:id="rId21"/>
    <p:sldLayoutId id="2147483958" r:id="rId22"/>
    <p:sldLayoutId id="2147483959" r:id="rId23"/>
    <p:sldLayoutId id="2147483960" r:id="rId24"/>
    <p:sldLayoutId id="2147483961" r:id="rId25"/>
    <p:sldLayoutId id="2147483962" r:id="rId26"/>
    <p:sldLayoutId id="2147483963" r:id="rId27"/>
    <p:sldLayoutId id="2147483964" r:id="rId28"/>
    <p:sldLayoutId id="2147483965" r:id="rId29"/>
    <p:sldLayoutId id="2147483966" r:id="rId30"/>
    <p:sldLayoutId id="2147483967" r:id="rId31"/>
    <p:sldLayoutId id="2147483968" r:id="rId32"/>
    <p:sldLayoutId id="2147483969" r:id="rId33"/>
    <p:sldLayoutId id="2147483970" r:id="rId34"/>
    <p:sldLayoutId id="2147483971" r:id="rId35"/>
    <p:sldLayoutId id="2147483972" r:id="rId36"/>
    <p:sldLayoutId id="2147483973" r:id="rId37"/>
  </p:sldLayoutIdLst>
  <p:txStyles>
    <p:titleStyle>
      <a:lvl1pPr marL="0" algn="l" defTabSz="1219170" rtl="0" eaLnBrk="1" latinLnBrk="0" hangingPunct="1">
        <a:lnSpc>
          <a:spcPct val="90000"/>
        </a:lnSpc>
        <a:spcBef>
          <a:spcPct val="0"/>
        </a:spcBef>
        <a:buNone/>
        <a:defRPr lang="en-GB" sz="3000" b="1" kern="0">
          <a:solidFill>
            <a:schemeClr val="accent1"/>
          </a:solidFill>
          <a:latin typeface="+mj-lt"/>
          <a:ea typeface="+mn-ea"/>
          <a:cs typeface="+mn-cs"/>
        </a:defRPr>
      </a:lvl1pPr>
    </p:titleStyle>
    <p:bodyStyle>
      <a:lvl1pPr marL="0" indent="0" algn="l" defTabSz="1219170" rtl="0" eaLnBrk="1" latinLnBrk="0" hangingPunct="1">
        <a:lnSpc>
          <a:spcPct val="80000"/>
        </a:lnSpc>
        <a:spcBef>
          <a:spcPts val="800"/>
        </a:spcBef>
        <a:spcAft>
          <a:spcPts val="300"/>
        </a:spcAft>
        <a:buClr>
          <a:schemeClr val="accent1"/>
        </a:buClr>
        <a:buFont typeface="Arial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1219170" rtl="0" eaLnBrk="1" latinLnBrk="0" hangingPunct="1">
        <a:lnSpc>
          <a:spcPct val="80000"/>
        </a:lnSpc>
        <a:spcBef>
          <a:spcPts val="800"/>
        </a:spcBef>
        <a:spcAft>
          <a:spcPts val="300"/>
        </a:spcAft>
        <a:buClr>
          <a:schemeClr val="accent1"/>
        </a:buClr>
        <a:buFontTx/>
        <a:buBlip>
          <a:blip r:embed="rId44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1219170" rtl="0" eaLnBrk="1" latinLnBrk="0" hangingPunct="1">
        <a:lnSpc>
          <a:spcPct val="80000"/>
        </a:lnSpc>
        <a:spcBef>
          <a:spcPts val="267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9649" indent="-239994" algn="l" defTabSz="1219170" rtl="0" eaLnBrk="1" latinLnBrk="0" hangingPunct="1">
        <a:lnSpc>
          <a:spcPct val="80000"/>
        </a:lnSpc>
        <a:spcBef>
          <a:spcPts val="267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59976" indent="-239994" algn="l" defTabSz="1219170" rtl="0" eaLnBrk="1" latinLnBrk="0" hangingPunct="1">
        <a:lnSpc>
          <a:spcPct val="80000"/>
        </a:lnSpc>
        <a:spcBef>
          <a:spcPts val="267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4.xml"/><Relationship Id="rId4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3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3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3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3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3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7" Type="http://schemas.openxmlformats.org/officeDocument/2006/relationships/image" Target="../media/image17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57.jpeg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7.png"/><Relationship Id="rId5" Type="http://schemas.openxmlformats.org/officeDocument/2006/relationships/image" Target="../media/image60.jpeg"/><Relationship Id="rId4" Type="http://schemas.openxmlformats.org/officeDocument/2006/relationships/image" Target="../media/image5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3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66.jpeg"/><Relationship Id="rId5" Type="http://schemas.openxmlformats.org/officeDocument/2006/relationships/image" Target="../media/image65.jpeg"/><Relationship Id="rId4" Type="http://schemas.openxmlformats.org/officeDocument/2006/relationships/image" Target="../media/image6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4.xml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7.png"/><Relationship Id="rId5" Type="http://schemas.openxmlformats.org/officeDocument/2006/relationships/image" Target="../media/image67.png"/><Relationship Id="rId4" Type="http://schemas.openxmlformats.org/officeDocument/2006/relationships/image" Target="../media/image5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69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7" Type="http://schemas.openxmlformats.org/officeDocument/2006/relationships/image" Target="../media/image17.pn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74.png"/><Relationship Id="rId5" Type="http://schemas.openxmlformats.org/officeDocument/2006/relationships/image" Target="../media/image73.jpeg"/><Relationship Id="rId4" Type="http://schemas.openxmlformats.org/officeDocument/2006/relationships/image" Target="../media/image72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7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17.png"/><Relationship Id="rId4" Type="http://schemas.openxmlformats.org/officeDocument/2006/relationships/image" Target="../media/image1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17.png"/><Relationship Id="rId4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3" Type="http://schemas.openxmlformats.org/officeDocument/2006/relationships/image" Target="../media/image24.emf"/><Relationship Id="rId7" Type="http://schemas.openxmlformats.org/officeDocument/2006/relationships/image" Target="../media/image28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7.emf"/><Relationship Id="rId5" Type="http://schemas.openxmlformats.org/officeDocument/2006/relationships/image" Target="../media/image26.emf"/><Relationship Id="rId4" Type="http://schemas.openxmlformats.org/officeDocument/2006/relationships/image" Target="../media/image25.jpeg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3" Type="http://schemas.openxmlformats.org/officeDocument/2006/relationships/image" Target="../media/image30.png"/><Relationship Id="rId7" Type="http://schemas.openxmlformats.org/officeDocument/2006/relationships/image" Target="../media/image34.jpeg"/><Relationship Id="rId12" Type="http://schemas.openxmlformats.org/officeDocument/2006/relationships/image" Target="../media/image39.png"/><Relationship Id="rId17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43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Relationship Id="rId14" Type="http://schemas.openxmlformats.org/officeDocument/2006/relationships/image" Target="../media/image4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4.xml"/><Relationship Id="rId4" Type="http://schemas.openxmlformats.org/officeDocument/2006/relationships/image" Target="../media/image4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914" name="AutoShape 2" descr="https://wallpapercave.com/wp/wp229955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66916" name="Picture 4" descr="https://wallpapercave.com/wp/wp229955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-1"/>
            <a:ext cx="9144000" cy="7366715"/>
          </a:xfrm>
          <a:prstGeom prst="rect">
            <a:avLst/>
          </a:prstGeom>
          <a:noFill/>
        </p:spPr>
      </p:pic>
      <p:pic>
        <p:nvPicPr>
          <p:cNvPr id="166919" name="Picture 7" descr="https://sqp.menuez.nl/assets/sqp/sikkens_logo_2017-775874b690c3e82ce906380d670871a47e2e621543c9c5e6ffbc12af08dafccc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0" y="-462224"/>
            <a:ext cx="6096000" cy="3017520"/>
          </a:xfrm>
          <a:prstGeom prst="rect">
            <a:avLst/>
          </a:prstGeom>
          <a:noFill/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5D95C9A-8EAD-49CC-A558-AF46092600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363" y="5148595"/>
            <a:ext cx="7335274" cy="2133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548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E88C674-0E01-4F6A-8229-1A8606116EDC}"/>
              </a:ext>
            </a:extLst>
          </p:cNvPr>
          <p:cNvSpPr/>
          <p:nvPr/>
        </p:nvSpPr>
        <p:spPr>
          <a:xfrm>
            <a:off x="291035" y="1136504"/>
            <a:ext cx="511515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Инновационная концепция </a:t>
            </a:r>
          </a:p>
          <a:p>
            <a:r>
              <a:rPr lang="ru-RU" sz="2000" dirty="0">
                <a:solidFill>
                  <a:srgbClr val="FF0000"/>
                </a:solidFill>
              </a:rPr>
              <a:t>фактура + цвет </a:t>
            </a:r>
          </a:p>
          <a:p>
            <a:r>
              <a:rPr lang="ru-RU" sz="2000" dirty="0"/>
              <a:t>с почти бесконечным количеством комбинаций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1283DD7-5130-4AC7-93F7-D904F5BEBA69}"/>
              </a:ext>
            </a:extLst>
          </p:cNvPr>
          <p:cNvSpPr/>
          <p:nvPr/>
        </p:nvSpPr>
        <p:spPr>
          <a:xfrm>
            <a:off x="291035" y="4020477"/>
            <a:ext cx="4572000" cy="2585323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dirty="0"/>
          </a:p>
          <a:p>
            <a:r>
              <a:rPr lang="ru-RU" dirty="0"/>
              <a:t>Обои под покраску</a:t>
            </a:r>
            <a:r>
              <a:rPr lang="en-US" dirty="0"/>
              <a:t> </a:t>
            </a:r>
            <a:r>
              <a:rPr lang="ru-RU" dirty="0"/>
              <a:t>превратились </a:t>
            </a:r>
            <a:br>
              <a:rPr lang="en-US" dirty="0"/>
            </a:br>
            <a:r>
              <a:rPr lang="ru-RU" dirty="0"/>
              <a:t>из строительного материала </a:t>
            </a:r>
            <a:br>
              <a:rPr lang="ru-RU" dirty="0"/>
            </a:br>
            <a:r>
              <a:rPr lang="ru-RU" dirty="0"/>
              <a:t>в интересные декоративные </a:t>
            </a:r>
            <a:br>
              <a:rPr lang="ru-RU" dirty="0"/>
            </a:br>
            <a:r>
              <a:rPr lang="ru-RU" dirty="0"/>
              <a:t>покрытия для стен.</a:t>
            </a:r>
            <a:endParaRPr lang="en-US" dirty="0"/>
          </a:p>
          <a:p>
            <a:endParaRPr lang="ru-RU" dirty="0"/>
          </a:p>
          <a:p>
            <a:r>
              <a:rPr lang="ru-RU" dirty="0"/>
              <a:t>Сегодня обои </a:t>
            </a:r>
            <a:r>
              <a:rPr lang="ru-RU" dirty="0" err="1"/>
              <a:t>Bauhaus</a:t>
            </a:r>
            <a:r>
              <a:rPr lang="ru-RU" dirty="0"/>
              <a:t> являются единственным в мире оригинальным промышленным продуктом </a:t>
            </a:r>
            <a:r>
              <a:rPr lang="ru-RU" dirty="0" err="1"/>
              <a:t>Bauhaus</a:t>
            </a:r>
            <a:r>
              <a:rPr lang="ru-RU" dirty="0"/>
              <a:t>. </a:t>
            </a:r>
            <a:endParaRPr lang="en-US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4B343A9-1315-45DA-AA47-64B57249C9FA}"/>
              </a:ext>
            </a:extLst>
          </p:cNvPr>
          <p:cNvSpPr/>
          <p:nvPr/>
        </p:nvSpPr>
        <p:spPr>
          <a:xfrm>
            <a:off x="310492" y="280747"/>
            <a:ext cx="511515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b="1" dirty="0"/>
              <a:t>BAUHAUS</a:t>
            </a:r>
            <a:endParaRPr lang="ru-RU" sz="2200" b="1" dirty="0"/>
          </a:p>
          <a:p>
            <a:r>
              <a:rPr lang="ru-RU" sz="2200" b="1" dirty="0"/>
              <a:t>БРЕНД С 101-ЛЕТНЕЙ ИСТОРИЕЙ</a:t>
            </a:r>
          </a:p>
        </p:txBody>
      </p:sp>
      <p:pic>
        <p:nvPicPr>
          <p:cNvPr id="8" name="Рисунок 7" descr="Изображение выглядит как здание&#10;&#10;Автоматически созданное описание">
            <a:extLst>
              <a:ext uri="{FF2B5EF4-FFF2-40B4-BE49-F238E27FC236}">
                <a16:creationId xmlns:a16="http://schemas.microsoft.com/office/drawing/2014/main" id="{89E90F14-F15F-4C7B-9D6E-EAF558923B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7951" y="101255"/>
            <a:ext cx="3187510" cy="4001059"/>
          </a:xfrm>
          <a:prstGeom prst="rect">
            <a:avLst/>
          </a:prstGeom>
        </p:spPr>
      </p:pic>
      <p:pic>
        <p:nvPicPr>
          <p:cNvPr id="10" name="Рисунок 9" descr="Изображение выглядит как здание, библиотека, город, улица&#10;&#10;Автоматически созданное описание">
            <a:extLst>
              <a:ext uri="{FF2B5EF4-FFF2-40B4-BE49-F238E27FC236}">
                <a16:creationId xmlns:a16="http://schemas.microsoft.com/office/drawing/2014/main" id="{CA46BC2F-2774-49FB-B10B-50E597288A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4274946"/>
            <a:ext cx="4443461" cy="2481799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289C7D32-5933-4AC4-B5F5-BBB46B326B39}"/>
              </a:ext>
            </a:extLst>
          </p:cNvPr>
          <p:cNvSpPr/>
          <p:nvPr/>
        </p:nvSpPr>
        <p:spPr>
          <a:xfrm>
            <a:off x="273855" y="2628780"/>
            <a:ext cx="568692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Почти 90 лет назад на рынок вышла первая коллекция обоев </a:t>
            </a:r>
            <a:r>
              <a:rPr lang="ru-RU" dirty="0" err="1"/>
              <a:t>Bauhaus</a:t>
            </a:r>
            <a:r>
              <a:rPr lang="ru-RU" dirty="0"/>
              <a:t>, разработанная </a:t>
            </a:r>
            <a:br>
              <a:rPr lang="ru-RU" dirty="0"/>
            </a:br>
            <a:r>
              <a:rPr lang="ru-RU" dirty="0"/>
              <a:t>в сотрудничестве с </a:t>
            </a:r>
            <a:r>
              <a:rPr lang="ru-RU" dirty="0" err="1"/>
              <a:t>Rasch</a:t>
            </a:r>
            <a:r>
              <a:rPr lang="ru-RU" dirty="0"/>
              <a:t>, и, несмотря на первоначальную критику, стала самым большим коммерческим успехом </a:t>
            </a:r>
            <a:r>
              <a:rPr lang="ru-RU" dirty="0" err="1"/>
              <a:t>Bauhaus</a:t>
            </a:r>
            <a:r>
              <a:rPr lang="ru-RU" dirty="0"/>
              <a:t>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183401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забор, книга, группа&#10;&#10;Автоматически созданное описание">
            <a:extLst>
              <a:ext uri="{FF2B5EF4-FFF2-40B4-BE49-F238E27FC236}">
                <a16:creationId xmlns:a16="http://schemas.microsoft.com/office/drawing/2014/main" id="{BDE8145E-EC47-4A39-AB01-477E561C8A2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00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460188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зеленый, окно, сидит, белый&#10;&#10;Автоматически созданное описание">
            <a:extLst>
              <a:ext uri="{FF2B5EF4-FFF2-40B4-BE49-F238E27FC236}">
                <a16:creationId xmlns:a16="http://schemas.microsoft.com/office/drawing/2014/main" id="{0ABE184A-F768-4E4E-B85F-C0BD0B2543A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42900"/>
            <a:ext cx="9155815" cy="7181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75368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желтый, улица, стоит, идет&#10;&#10;Автоматически созданное описание">
            <a:extLst>
              <a:ext uri="{FF2B5EF4-FFF2-40B4-BE49-F238E27FC236}">
                <a16:creationId xmlns:a16="http://schemas.microsoft.com/office/drawing/2014/main" id="{035FF441-CFFD-40CE-8EE7-6CE2695CAFC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6" y="-189950"/>
            <a:ext cx="9141674" cy="7284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113502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внутренний, маленький, здание, зеленый&#10;&#10;Автоматически созданное описание">
            <a:extLst>
              <a:ext uri="{FF2B5EF4-FFF2-40B4-BE49-F238E27FC236}">
                <a16:creationId xmlns:a16="http://schemas.microsoft.com/office/drawing/2014/main" id="{A180F3C5-E28B-4C8A-B18E-778813417A1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6" r="9237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474936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желтый, внутренний, маленький, здание&#10;&#10;Автоматически созданное описание">
            <a:extLst>
              <a:ext uri="{FF2B5EF4-FFF2-40B4-BE49-F238E27FC236}">
                <a16:creationId xmlns:a16="http://schemas.microsoft.com/office/drawing/2014/main" id="{2A193975-9FA9-4A9C-A7D8-46B2C3F29AF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0" r="728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31029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B013A7F-AC0F-4A78-9A0D-21EE16A566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281" y="822555"/>
            <a:ext cx="9144000" cy="4628678"/>
          </a:xfrm>
          <a:prstGeom prst="rect">
            <a:avLst/>
          </a:prstGeom>
        </p:spPr>
      </p:pic>
      <p:pic>
        <p:nvPicPr>
          <p:cNvPr id="4" name="Рисунок 3" descr="Изображение выглядит как красный, кирпич&#10;&#10;Автоматически созданное описание">
            <a:extLst>
              <a:ext uri="{FF2B5EF4-FFF2-40B4-BE49-F238E27FC236}">
                <a16:creationId xmlns:a16="http://schemas.microsoft.com/office/drawing/2014/main" id="{5D9B7AC3-5A82-4635-B8B5-EBADE27A70A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1" y="5021179"/>
            <a:ext cx="1905000" cy="1598676"/>
          </a:xfrm>
          <a:prstGeom prst="rect">
            <a:avLst/>
          </a:prstGeom>
        </p:spPr>
      </p:pic>
      <p:pic>
        <p:nvPicPr>
          <p:cNvPr id="6" name="Рисунок 5" descr="Изображение выглядит как белый&#10;&#10;Автоматически созданное описание">
            <a:extLst>
              <a:ext uri="{FF2B5EF4-FFF2-40B4-BE49-F238E27FC236}">
                <a16:creationId xmlns:a16="http://schemas.microsoft.com/office/drawing/2014/main" id="{96742C0E-966B-40A8-80CA-C33DF7D2130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3008" y="5021179"/>
            <a:ext cx="2222500" cy="1598676"/>
          </a:xfrm>
          <a:prstGeom prst="rect">
            <a:avLst/>
          </a:prstGeom>
        </p:spPr>
      </p:pic>
      <p:pic>
        <p:nvPicPr>
          <p:cNvPr id="8" name="Рисунок 7" descr="Изображение выглядит как душ, белый, с плиткой, дверь&#10;&#10;Автоматически созданное описание">
            <a:extLst>
              <a:ext uri="{FF2B5EF4-FFF2-40B4-BE49-F238E27FC236}">
                <a16:creationId xmlns:a16="http://schemas.microsoft.com/office/drawing/2014/main" id="{2C138D3E-8EF6-46D4-953D-6B401AB91DE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021179"/>
            <a:ext cx="2222500" cy="1598676"/>
          </a:xfrm>
          <a:prstGeom prst="rect">
            <a:avLst/>
          </a:prstGeom>
        </p:spPr>
      </p:pic>
      <p:pic>
        <p:nvPicPr>
          <p:cNvPr id="10" name="Рисунок 9" descr="Изображение выглядит как здание, черный, белый, сидит&#10;&#10;Автоматически созданное описание">
            <a:extLst>
              <a:ext uri="{FF2B5EF4-FFF2-40B4-BE49-F238E27FC236}">
                <a16:creationId xmlns:a16="http://schemas.microsoft.com/office/drawing/2014/main" id="{D49964E9-FAB1-4B3E-9641-B03FAF857A2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5306" y="5021179"/>
            <a:ext cx="2091413" cy="1598676"/>
          </a:xfrm>
          <a:prstGeom prst="rect">
            <a:avLst/>
          </a:prstGeom>
        </p:spPr>
      </p:pic>
      <p:pic>
        <p:nvPicPr>
          <p:cNvPr id="7" name="Picture 2" descr="D:\!!!Макеты\логотипы\Sikkens\Sikkens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17141" y="203585"/>
            <a:ext cx="1776624" cy="684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21106464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3136674" y="1388475"/>
            <a:ext cx="5801658" cy="3893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52000">
              <a:spcBef>
                <a:spcPts val="1200"/>
              </a:spcBef>
              <a:buFont typeface="Wingdings" pitchFamily="2" charset="2"/>
              <a:buChar char="ü"/>
            </a:pPr>
            <a:r>
              <a:rPr lang="ru-RU" sz="23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 </a:t>
            </a:r>
            <a:r>
              <a:rPr lang="ru-RU" sz="23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Для внутренних работ по полностью просохшим минеральным поверхностям</a:t>
            </a:r>
          </a:p>
          <a:p>
            <a:pPr indent="-252000">
              <a:spcBef>
                <a:spcPts val="1200"/>
              </a:spcBef>
              <a:buFont typeface="Wingdings" pitchFamily="2" charset="2"/>
              <a:buChar char="ü"/>
            </a:pPr>
            <a:r>
              <a:rPr lang="ru-RU" sz="23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Создает эффект перламутрового металлика</a:t>
            </a:r>
          </a:p>
          <a:p>
            <a:pPr indent="-252000">
              <a:spcBef>
                <a:spcPts val="1200"/>
              </a:spcBef>
              <a:buFont typeface="Wingdings" pitchFamily="2" charset="2"/>
              <a:buChar char="ü"/>
            </a:pPr>
            <a:r>
              <a:rPr lang="ru-RU" sz="23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Серебряная и золотая база колеровки</a:t>
            </a:r>
          </a:p>
          <a:p>
            <a:pPr indent="-252000">
              <a:spcBef>
                <a:spcPts val="1200"/>
              </a:spcBef>
              <a:buFont typeface="Wingdings" pitchFamily="2" charset="2"/>
              <a:buChar char="ü"/>
            </a:pPr>
            <a:r>
              <a:rPr lang="ru-RU" sz="23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Классическое нанесение: </a:t>
            </a:r>
            <a:br>
              <a:rPr lang="ru-RU" sz="23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</a:br>
            <a:r>
              <a:rPr lang="ru-RU" sz="23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грунт – подложка – финиш</a:t>
            </a:r>
            <a:endParaRPr lang="en-US" sz="2300" dirty="0">
              <a:solidFill>
                <a:srgbClr val="44697D">
                  <a:lumMod val="75000"/>
                </a:srgbClr>
              </a:solidFill>
              <a:latin typeface="Calibri" pitchFamily="34" charset="0"/>
            </a:endParaRPr>
          </a:p>
          <a:p>
            <a:pPr indent="-252000">
              <a:spcBef>
                <a:spcPts val="1200"/>
              </a:spcBef>
              <a:buFont typeface="Wingdings" pitchFamily="2" charset="2"/>
              <a:buChar char="ü"/>
            </a:pPr>
            <a:r>
              <a:rPr lang="ru-RU" sz="23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 Перекрывает любую краску на водной основе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73266" y="3970121"/>
            <a:ext cx="2169309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8BC5">
                    <a:lumMod val="75000"/>
                  </a:srgbClr>
                </a:solidFill>
                <a:latin typeface="Calibri" pitchFamily="34" charset="0"/>
              </a:rPr>
              <a:t> до 15 м²/л</a:t>
            </a:r>
          </a:p>
          <a:p>
            <a:pPr lvl="2"/>
            <a:endParaRPr lang="ru-RU" sz="1600" dirty="0">
              <a:solidFill>
                <a:srgbClr val="008BC5">
                  <a:lumMod val="75000"/>
                </a:srgbClr>
              </a:solidFill>
              <a:latin typeface="Calibri" pitchFamily="34" charset="0"/>
            </a:endParaRPr>
          </a:p>
          <a:p>
            <a:r>
              <a:rPr lang="en-US" dirty="0">
                <a:solidFill>
                  <a:srgbClr val="008BC5">
                    <a:lumMod val="75000"/>
                  </a:srgbClr>
                </a:solidFill>
                <a:latin typeface="Calibri" pitchFamily="34" charset="0"/>
              </a:rPr>
              <a:t> </a:t>
            </a:r>
            <a:endParaRPr lang="ru-RU" dirty="0">
              <a:solidFill>
                <a:srgbClr val="008BC5">
                  <a:lumMod val="75000"/>
                </a:srgbClr>
              </a:solidFill>
              <a:latin typeface="Calibri" pitchFamily="34" charset="0"/>
            </a:endParaRPr>
          </a:p>
          <a:p>
            <a:endParaRPr lang="ru-RU" sz="1600" dirty="0">
              <a:solidFill>
                <a:srgbClr val="008BC5">
                  <a:lumMod val="75000"/>
                </a:srgbClr>
              </a:solidFill>
              <a:latin typeface="Calibri" pitchFamily="34" charset="0"/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0026" y="4019036"/>
            <a:ext cx="44902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4903" y="4996075"/>
            <a:ext cx="301411" cy="271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2" name="TextBox 21"/>
          <p:cNvSpPr txBox="1"/>
          <p:nvPr/>
        </p:nvSpPr>
        <p:spPr>
          <a:xfrm>
            <a:off x="2238478" y="309401"/>
            <a:ext cx="5498926" cy="9519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40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ALPHA</a:t>
            </a:r>
            <a:r>
              <a:rPr lang="ru-RU" sz="40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 </a:t>
            </a:r>
            <a:r>
              <a:rPr lang="en-US" sz="40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DESIGN</a:t>
            </a:r>
            <a:endParaRPr lang="ru-RU" sz="4000" b="0" dirty="0">
              <a:latin typeface="Calibri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72933" y="3621117"/>
            <a:ext cx="1465545" cy="3256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20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Расход</a:t>
            </a:r>
            <a:endParaRPr lang="ru-RU" sz="2000" b="0" dirty="0"/>
          </a:p>
        </p:txBody>
      </p:sp>
      <p:sp>
        <p:nvSpPr>
          <p:cNvPr id="24" name="TextBox 23"/>
          <p:cNvSpPr txBox="1"/>
          <p:nvPr/>
        </p:nvSpPr>
        <p:spPr>
          <a:xfrm>
            <a:off x="588724" y="4609578"/>
            <a:ext cx="1478071" cy="4759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20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Высыхание</a:t>
            </a:r>
            <a:endParaRPr lang="ru-RU" sz="2000" b="0" dirty="0"/>
          </a:p>
        </p:txBody>
      </p:sp>
      <p:sp>
        <p:nvSpPr>
          <p:cNvPr id="25" name="TextBox 24"/>
          <p:cNvSpPr txBox="1"/>
          <p:nvPr/>
        </p:nvSpPr>
        <p:spPr>
          <a:xfrm>
            <a:off x="764087" y="4997885"/>
            <a:ext cx="1415441" cy="3507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dirty="0">
                <a:solidFill>
                  <a:srgbClr val="008BC5">
                    <a:lumMod val="75000"/>
                  </a:srgbClr>
                </a:solidFill>
                <a:latin typeface="Calibri" pitchFamily="34" charset="0"/>
              </a:rPr>
              <a:t>12 часов</a:t>
            </a:r>
            <a:endParaRPr lang="ru-RU" b="0" dirty="0"/>
          </a:p>
        </p:txBody>
      </p:sp>
      <p:pic>
        <p:nvPicPr>
          <p:cNvPr id="3" name="Рисунок 2" descr="Изображение выглядит как чашка, кофе, кружка, компьютер&#10;&#10;Автоматически созданное описание">
            <a:extLst>
              <a:ext uri="{FF2B5EF4-FFF2-40B4-BE49-F238E27FC236}">
                <a16:creationId xmlns:a16="http://schemas.microsoft.com/office/drawing/2014/main" id="{C415EBCD-C080-4135-B6A5-4153CE1B02C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741" y="1071050"/>
            <a:ext cx="2011680" cy="2011680"/>
          </a:xfrm>
          <a:prstGeom prst="rect">
            <a:avLst/>
          </a:prstGeom>
        </p:spPr>
      </p:pic>
      <p:pic>
        <p:nvPicPr>
          <p:cNvPr id="16" name="Picture 2" descr="D:\!!!Макеты\логотипы\Sikkens\Sikkens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188764" y="6021580"/>
            <a:ext cx="1776624" cy="684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29950793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62" name="Picture 2" descr="D:\!!!Макеты\презентации\2020 краски\Colors_Alpha_Design-8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1595" y="341644"/>
            <a:ext cx="4426460" cy="6264000"/>
          </a:xfrm>
          <a:prstGeom prst="rect">
            <a:avLst/>
          </a:prstGeom>
          <a:noFill/>
        </p:spPr>
      </p:pic>
      <p:pic>
        <p:nvPicPr>
          <p:cNvPr id="143363" name="Picture 3" descr="D:\!!!Макеты\презентации\2020 краски\Colors_Alpha_Design-10.jpg"/>
          <p:cNvPicPr>
            <a:picLocks noChangeAspect="1" noChangeArrowheads="1"/>
          </p:cNvPicPr>
          <p:nvPr/>
        </p:nvPicPr>
        <p:blipFill>
          <a:blip r:embed="rId3"/>
          <a:srcRect l="5287"/>
          <a:stretch>
            <a:fillRect/>
          </a:stretch>
        </p:blipFill>
        <p:spPr bwMode="auto">
          <a:xfrm>
            <a:off x="4602145" y="341644"/>
            <a:ext cx="4192449" cy="6264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90330379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A652DF53-7585-496A-9354-712D6595E4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9"/>
          <a:stretch>
            <a:fillRect/>
          </a:stretch>
        </p:blipFill>
        <p:spPr>
          <a:xfrm>
            <a:off x="160774" y="547349"/>
            <a:ext cx="8752114" cy="4601217"/>
          </a:xfrm>
          <a:prstGeom prst="rect">
            <a:avLst/>
          </a:prstGeom>
        </p:spPr>
      </p:pic>
      <p:pic>
        <p:nvPicPr>
          <p:cNvPr id="142338" name="Picture 2" descr="D:\_обои и ткани\Bauhaus\Bauhaus стенд\Stend-Bauhaus-Metallic-34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49651" y="4582050"/>
            <a:ext cx="2749885" cy="2275950"/>
          </a:xfrm>
          <a:prstGeom prst="rect">
            <a:avLst/>
          </a:prstGeom>
          <a:noFill/>
        </p:spPr>
      </p:pic>
      <p:pic>
        <p:nvPicPr>
          <p:cNvPr id="10" name="Рисунок 9" descr="Изображение выглядит как внутренний, синий, душ, окно&#10;&#10;Автоматически созданное описание">
            <a:extLst>
              <a:ext uri="{FF2B5EF4-FFF2-40B4-BE49-F238E27FC236}">
                <a16:creationId xmlns:a16="http://schemas.microsoft.com/office/drawing/2014/main" id="{077645EA-11F6-4B12-A40D-AF13F9565FE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4595" y="4584192"/>
            <a:ext cx="2731629" cy="2273808"/>
          </a:xfrm>
          <a:prstGeom prst="rect">
            <a:avLst/>
          </a:prstGeom>
        </p:spPr>
      </p:pic>
      <p:pic>
        <p:nvPicPr>
          <p:cNvPr id="12" name="Рисунок 11" descr="Изображение выглядит как белый, продукт, чемодан, багаж&#10;&#10;Автоматически созданное описание">
            <a:extLst>
              <a:ext uri="{FF2B5EF4-FFF2-40B4-BE49-F238E27FC236}">
                <a16:creationId xmlns:a16="http://schemas.microsoft.com/office/drawing/2014/main" id="{2EAA6EAA-EC10-4247-8783-AD45337EC38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84192"/>
            <a:ext cx="3061131" cy="2273808"/>
          </a:xfrm>
          <a:prstGeom prst="rect">
            <a:avLst/>
          </a:prstGeom>
        </p:spPr>
      </p:pic>
      <p:pic>
        <p:nvPicPr>
          <p:cNvPr id="7" name="Picture 2" descr="D:\!!!Макеты\логотипы\Sikkens\Sikkens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55885" y="153342"/>
            <a:ext cx="1776624" cy="684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39919636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6DA7717F-773B-498E-B883-7F50672908A6}"/>
              </a:ext>
            </a:extLst>
          </p:cNvPr>
          <p:cNvSpPr txBox="1"/>
          <p:nvPr/>
        </p:nvSpPr>
        <p:spPr>
          <a:xfrm>
            <a:off x="381837" y="1235450"/>
            <a:ext cx="81360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1792 год – дата основания </a:t>
            </a:r>
            <a:r>
              <a:rPr lang="en-US" sz="3600" b="1" dirty="0" err="1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Sikkens</a:t>
            </a:r>
            <a:endParaRPr lang="ru-RU" sz="1100" b="1" dirty="0">
              <a:solidFill>
                <a:srgbClr val="44697D">
                  <a:lumMod val="75000"/>
                </a:srgbClr>
              </a:solidFill>
              <a:latin typeface="Calibri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78963E1-D934-4841-A112-08843CD7335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9238" y="2259532"/>
            <a:ext cx="5699223" cy="320365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F61E3D0F-1DA2-4142-8B67-8282AEFF3CE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5986" y="609218"/>
            <a:ext cx="5715000" cy="47625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CE17999-AA1A-4B02-9BE6-ABF133292E13}"/>
              </a:ext>
            </a:extLst>
          </p:cNvPr>
          <p:cNvSpPr txBox="1"/>
          <p:nvPr/>
        </p:nvSpPr>
        <p:spPr>
          <a:xfrm>
            <a:off x="381837" y="2240546"/>
            <a:ext cx="2539800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3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Голландский декоратор Вирт </a:t>
            </a:r>
            <a:r>
              <a:rPr lang="ru-RU" sz="2300" dirty="0" err="1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Виллем</a:t>
            </a:r>
            <a:r>
              <a:rPr lang="ru-RU" sz="23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 </a:t>
            </a:r>
            <a:r>
              <a:rPr lang="ru-RU" sz="2300" dirty="0" err="1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Сиккенс</a:t>
            </a:r>
            <a:r>
              <a:rPr lang="ru-RU" sz="23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 начинает изготовление красок и лаков </a:t>
            </a:r>
            <a:br>
              <a:rPr lang="ru-RU" sz="23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</a:br>
            <a:r>
              <a:rPr lang="ru-RU" sz="23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в своем родном городе </a:t>
            </a:r>
            <a:r>
              <a:rPr lang="ru-RU" sz="2300" dirty="0" err="1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Гронинген</a:t>
            </a:r>
            <a:endParaRPr lang="en-US" sz="2300" dirty="0">
              <a:solidFill>
                <a:srgbClr val="44697D">
                  <a:lumMod val="75000"/>
                </a:srgbClr>
              </a:solidFill>
              <a:latin typeface="Calibri" pitchFamily="34" charset="0"/>
            </a:endParaRPr>
          </a:p>
        </p:txBody>
      </p:sp>
      <p:pic>
        <p:nvPicPr>
          <p:cNvPr id="7" name="Picture 2" descr="D:\!!!Макеты\логотипы\Sikkens\Sikkens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188764" y="6021580"/>
            <a:ext cx="1776624" cy="684000"/>
          </a:xfrm>
          <a:prstGeom prst="rect">
            <a:avLst/>
          </a:prstGeom>
          <a:noFill/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381837" y="295691"/>
            <a:ext cx="5052612" cy="618709"/>
          </a:xfrm>
          <a:prstGeom prst="rect">
            <a:avLst/>
          </a:prstGeom>
        </p:spPr>
        <p:txBody>
          <a:bodyPr wrap="square" lIns="0" tIns="0" rIns="0" bIns="0" rtlCol="0" anchor="b" anchorCtr="0">
            <a:noAutofit/>
          </a:bodyPr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rgbClr val="005192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lnSpc>
                <a:spcPts val="3000"/>
              </a:lnSpc>
              <a:defRPr/>
            </a:pPr>
            <a:r>
              <a:rPr lang="ru-RU" sz="4000" dirty="0">
                <a:solidFill>
                  <a:srgbClr val="44697D"/>
                </a:solidFill>
                <a:latin typeface="Calibri" pitchFamily="34" charset="0"/>
              </a:rPr>
              <a:t>ИСТОРИЯ КОМПАНИИ</a:t>
            </a:r>
          </a:p>
        </p:txBody>
      </p:sp>
    </p:spTree>
    <p:extLst>
      <p:ext uri="{BB962C8B-B14F-4D97-AF65-F5344CB8AC3E}">
        <p14:creationId xmlns:p14="http://schemas.microsoft.com/office/powerpoint/2010/main" val="778903981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533213" y="4670708"/>
            <a:ext cx="17808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8BC5">
                    <a:lumMod val="75000"/>
                  </a:srgbClr>
                </a:solidFill>
                <a:latin typeface="Calibri" pitchFamily="34" charset="0"/>
              </a:rPr>
              <a:t> 8-12 часов</a:t>
            </a:r>
            <a:endParaRPr lang="ru-RU" sz="1600" dirty="0">
              <a:solidFill>
                <a:srgbClr val="008BC5">
                  <a:lumMod val="75000"/>
                </a:srgbClr>
              </a:solidFill>
              <a:latin typeface="Calibri" pitchFamily="34" charset="0"/>
            </a:endParaRPr>
          </a:p>
          <a:p>
            <a:r>
              <a:rPr lang="ru-RU" dirty="0">
                <a:solidFill>
                  <a:srgbClr val="008BC5">
                    <a:lumMod val="75000"/>
                  </a:srgbClr>
                </a:solidFill>
                <a:latin typeface="Calibri" pitchFamily="34" charset="0"/>
              </a:rPr>
              <a:t>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095580" y="1151811"/>
            <a:ext cx="5887647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buFont typeface="Wingdings" pitchFamily="2" charset="2"/>
              <a:buChar char="ü"/>
            </a:pPr>
            <a:r>
              <a:rPr lang="ru-RU" sz="23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 </a:t>
            </a:r>
            <a:r>
              <a:rPr lang="ru-RU" sz="23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Для внутренних работ по полностью </a:t>
            </a:r>
          </a:p>
          <a:p>
            <a:pPr>
              <a:spcBef>
                <a:spcPts val="1200"/>
              </a:spcBef>
            </a:pPr>
            <a:r>
              <a:rPr lang="ru-RU" sz="23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просохшим минеральным поверхностям</a:t>
            </a:r>
          </a:p>
          <a:p>
            <a:pPr>
              <a:spcBef>
                <a:spcPts val="1200"/>
              </a:spcBef>
              <a:buFont typeface="Wingdings" pitchFamily="2" charset="2"/>
              <a:buChar char="ü"/>
            </a:pPr>
            <a:r>
              <a:rPr lang="ru-RU" sz="2300" dirty="0" err="1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Полуглянцевая</a:t>
            </a:r>
            <a:r>
              <a:rPr lang="ru-RU" sz="23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 краска на водной основе</a:t>
            </a:r>
            <a:endParaRPr lang="en-US" sz="2300" dirty="0">
              <a:solidFill>
                <a:srgbClr val="44697D">
                  <a:lumMod val="75000"/>
                </a:srgbClr>
              </a:solidFill>
              <a:latin typeface="Calibri" pitchFamily="34" charset="0"/>
            </a:endParaRPr>
          </a:p>
          <a:p>
            <a:pPr>
              <a:spcBef>
                <a:spcPts val="1200"/>
              </a:spcBef>
              <a:buFont typeface="Wingdings" pitchFamily="2" charset="2"/>
              <a:buChar char="ü"/>
            </a:pPr>
            <a:r>
              <a:rPr lang="ru-RU" sz="23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 Создает металлический эффект</a:t>
            </a:r>
          </a:p>
          <a:p>
            <a:pPr>
              <a:spcBef>
                <a:spcPts val="1200"/>
              </a:spcBef>
              <a:buFont typeface="Wingdings" pitchFamily="2" charset="2"/>
              <a:buChar char="ü"/>
            </a:pPr>
            <a:r>
              <a:rPr lang="ru-RU" sz="23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 Колеруется в 55 оттенков (серебряная база)</a:t>
            </a:r>
          </a:p>
          <a:p>
            <a:pPr>
              <a:spcBef>
                <a:spcPts val="1200"/>
              </a:spcBef>
              <a:buFont typeface="Wingdings" pitchFamily="2" charset="2"/>
              <a:buChar char="ü"/>
            </a:pPr>
            <a:r>
              <a:rPr lang="ru-RU" sz="23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 Классическое нанесение: грунт – подложка – финиш</a:t>
            </a:r>
          </a:p>
          <a:p>
            <a:pPr>
              <a:spcBef>
                <a:spcPts val="1200"/>
              </a:spcBef>
              <a:buFont typeface="Wingdings" pitchFamily="2" charset="2"/>
              <a:buChar char="ü"/>
            </a:pPr>
            <a:r>
              <a:rPr lang="ru-RU" sz="23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Применяется для эффекта «Персидская парча»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7389" y="3569480"/>
            <a:ext cx="44902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1802" y="4322939"/>
            <a:ext cx="301411" cy="271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4" name="TextBox 23"/>
          <p:cNvSpPr txBox="1"/>
          <p:nvPr/>
        </p:nvSpPr>
        <p:spPr>
          <a:xfrm>
            <a:off x="807929" y="3439702"/>
            <a:ext cx="1465545" cy="3256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20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Расход</a:t>
            </a:r>
            <a:endParaRPr lang="ru-RU" sz="2000" b="0" dirty="0"/>
          </a:p>
        </p:txBody>
      </p:sp>
      <p:sp>
        <p:nvSpPr>
          <p:cNvPr id="25" name="TextBox 24"/>
          <p:cNvSpPr txBox="1"/>
          <p:nvPr/>
        </p:nvSpPr>
        <p:spPr>
          <a:xfrm>
            <a:off x="654921" y="4276397"/>
            <a:ext cx="1478071" cy="4759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20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Высыхание</a:t>
            </a:r>
            <a:endParaRPr lang="ru-RU" sz="2000" b="0" dirty="0"/>
          </a:p>
        </p:txBody>
      </p:sp>
      <p:sp>
        <p:nvSpPr>
          <p:cNvPr id="26" name="TextBox 25"/>
          <p:cNvSpPr txBox="1"/>
          <p:nvPr/>
        </p:nvSpPr>
        <p:spPr>
          <a:xfrm>
            <a:off x="1961398" y="308525"/>
            <a:ext cx="6425852" cy="9269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36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ALPHA</a:t>
            </a:r>
            <a:r>
              <a:rPr lang="ru-RU" sz="36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 </a:t>
            </a:r>
            <a:r>
              <a:rPr lang="en-US" sz="36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METALLIC</a:t>
            </a:r>
            <a:endParaRPr lang="ru-RU" sz="3600" b="0" dirty="0"/>
          </a:p>
        </p:txBody>
      </p:sp>
      <p:pic>
        <p:nvPicPr>
          <p:cNvPr id="3" name="Рисунок 2" descr="Изображение выглядит как кофе, чашка, кружка, стол&#10;&#10;Автоматически созданное описание">
            <a:extLst>
              <a:ext uri="{FF2B5EF4-FFF2-40B4-BE49-F238E27FC236}">
                <a16:creationId xmlns:a16="http://schemas.microsoft.com/office/drawing/2014/main" id="{8CF32767-AA47-4FAE-9A9D-BE1C1FFBA02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9721" y="797242"/>
            <a:ext cx="2841498" cy="2514600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2F42B90-DDCF-4DB9-8D67-0321F9CB4D96}"/>
              </a:ext>
            </a:extLst>
          </p:cNvPr>
          <p:cNvSpPr/>
          <p:nvPr/>
        </p:nvSpPr>
        <p:spPr>
          <a:xfrm>
            <a:off x="627384" y="3712590"/>
            <a:ext cx="133401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8BC5">
                    <a:lumMod val="75000"/>
                  </a:srgbClr>
                </a:solidFill>
                <a:latin typeface="Calibri" pitchFamily="34" charset="0"/>
              </a:rPr>
              <a:t>12-14 м²/л</a:t>
            </a:r>
          </a:p>
        </p:txBody>
      </p:sp>
      <p:pic>
        <p:nvPicPr>
          <p:cNvPr id="17" name="Picture 2" descr="D:\!!!Макеты\логотипы\Sikkens\Sikkens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068184" y="5981386"/>
            <a:ext cx="1776624" cy="684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20210600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386" name="Picture 2" descr="D:\!!!Макеты\презентации\2020 краски\Colors_Alpha_Metallic-6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0054" y="351692"/>
            <a:ext cx="4426467" cy="6264000"/>
          </a:xfrm>
          <a:prstGeom prst="rect">
            <a:avLst/>
          </a:prstGeom>
          <a:noFill/>
        </p:spPr>
      </p:pic>
      <p:pic>
        <p:nvPicPr>
          <p:cNvPr id="144387" name="Picture 3" descr="D:\!!!Макеты\презентации\2020 краски\Colors_Alpha_Metallic-7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16568" y="341644"/>
            <a:ext cx="4426467" cy="6264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39685602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 descr="Изображение выглядит как здание, черный, белый, сидит&#10;&#10;Автоматически созданное описание">
            <a:extLst>
              <a:ext uri="{FF2B5EF4-FFF2-40B4-BE49-F238E27FC236}">
                <a16:creationId xmlns:a16="http://schemas.microsoft.com/office/drawing/2014/main" id="{335D449D-A24E-400E-8506-A590EF2F625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6413" y="4847591"/>
            <a:ext cx="3149018" cy="1774859"/>
          </a:xfrm>
          <a:prstGeom prst="rect">
            <a:avLst/>
          </a:prstGeom>
        </p:spPr>
      </p:pic>
      <p:pic>
        <p:nvPicPr>
          <p:cNvPr id="5" name="Рисунок 4" descr="Изображение выглядит как сидит, парковка, сторона, черный&#10;&#10;Автоматически созданное описание">
            <a:extLst>
              <a:ext uri="{FF2B5EF4-FFF2-40B4-BE49-F238E27FC236}">
                <a16:creationId xmlns:a16="http://schemas.microsoft.com/office/drawing/2014/main" id="{3EEC8D36-7C98-4EC5-9844-339B6895952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484" y="254000"/>
            <a:ext cx="5113020" cy="6350000"/>
          </a:xfrm>
          <a:prstGeom prst="rect">
            <a:avLst/>
          </a:prstGeom>
        </p:spPr>
      </p:pic>
      <p:pic>
        <p:nvPicPr>
          <p:cNvPr id="3" name="Рисунок 2" descr="Изображение выглядит как забор, книга, группа&#10;&#10;Автоматически созданное описание">
            <a:extLst>
              <a:ext uri="{FF2B5EF4-FFF2-40B4-BE49-F238E27FC236}">
                <a16:creationId xmlns:a16="http://schemas.microsoft.com/office/drawing/2014/main" id="{80DDE476-093F-4332-BB23-2DF17327DEF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0431" y="254000"/>
            <a:ext cx="3175000" cy="2133600"/>
          </a:xfrm>
          <a:prstGeom prst="rect">
            <a:avLst/>
          </a:prstGeom>
        </p:spPr>
      </p:pic>
      <p:pic>
        <p:nvPicPr>
          <p:cNvPr id="7" name="Рисунок 6" descr="Изображение выглядит как сидит, желтый, большой, сторона&#10;&#10;Автоматически созданное описание">
            <a:extLst>
              <a:ext uri="{FF2B5EF4-FFF2-40B4-BE49-F238E27FC236}">
                <a16:creationId xmlns:a16="http://schemas.microsoft.com/office/drawing/2014/main" id="{B0FD564E-0615-4359-8FA7-9E30016CE59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6" t="9100"/>
          <a:stretch>
            <a:fillRect/>
          </a:stretch>
        </p:blipFill>
        <p:spPr>
          <a:xfrm>
            <a:off x="5637125" y="2512088"/>
            <a:ext cx="3188306" cy="2170022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00CACFC-2957-4938-AEC4-0BDB386D89E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8364" y="3808325"/>
            <a:ext cx="2696227" cy="784358"/>
          </a:xfrm>
          <a:prstGeom prst="rect">
            <a:avLst/>
          </a:prstGeom>
        </p:spPr>
      </p:pic>
      <p:pic>
        <p:nvPicPr>
          <p:cNvPr id="10" name="Picture 2" descr="D:\!!!Макеты\логотипы\Sikkens\Sikkens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239908" y="2964263"/>
            <a:ext cx="1444125" cy="5559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88191470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1490" name="Picture 2" descr="http://mnogo-hochu.ru/wp-content/uploads/2018/02/DSC_0045-1024x68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352811"/>
            <a:ext cx="9144000" cy="5505189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/>
        </p:nvSpPr>
        <p:spPr>
          <a:xfrm>
            <a:off x="2404997" y="448873"/>
            <a:ext cx="4334006" cy="666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3200" b="1" dirty="0">
                <a:latin typeface="Calibri" pitchFamily="34" charset="0"/>
              </a:rPr>
              <a:t>Складской запас</a:t>
            </a:r>
          </a:p>
        </p:txBody>
      </p:sp>
      <p:pic>
        <p:nvPicPr>
          <p:cNvPr id="6" name="Picture 3" descr="D:\!!!Макеты\логотипы\Sikkens\Sikkens-white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683689" y="5787274"/>
            <a:ext cx="1776623" cy="684000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12941" y="302691"/>
            <a:ext cx="8655485" cy="15657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36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1837 год </a:t>
            </a:r>
            <a:r>
              <a:rPr lang="ru-RU" sz="36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– </a:t>
            </a:r>
            <a:r>
              <a:rPr lang="ru-RU" sz="3600" dirty="0" err="1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Герт</a:t>
            </a:r>
            <a:r>
              <a:rPr lang="ru-RU" sz="36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 </a:t>
            </a:r>
            <a:r>
              <a:rPr lang="ru-RU" sz="3600" dirty="0" err="1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Сиккенс</a:t>
            </a:r>
            <a:r>
              <a:rPr lang="ru-RU" sz="36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 запускает первый завод по изготовлению лакокрасочных материалов</a:t>
            </a:r>
          </a:p>
          <a:p>
            <a:endParaRPr lang="ru-RU" sz="1400" b="0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61E3D0F-1DA2-4142-8B67-8282AEFF3CE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137" y="2046102"/>
            <a:ext cx="4360285" cy="363357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2" descr="http://img-fotki.yandex.ru/get/4603/leon-maksimow.22/0_39527_9a7df949_XL.jpg">
            <a:extLst>
              <a:ext uri="{FF2B5EF4-FFF2-40B4-BE49-F238E27FC236}">
                <a16:creationId xmlns:a16="http://schemas.microsoft.com/office/drawing/2014/main" id="{E0442690-E074-45D0-B6A1-67771EA489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7896" y="2279048"/>
            <a:ext cx="4205687" cy="284409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2" descr="D:\!!!Макеты\логотипы\Sikkens\Sikkens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188764" y="6021580"/>
            <a:ext cx="1776624" cy="684000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6DA7717F-773B-498E-B883-7F50672908A6}"/>
              </a:ext>
            </a:extLst>
          </p:cNvPr>
          <p:cNvSpPr txBox="1"/>
          <p:nvPr/>
        </p:nvSpPr>
        <p:spPr>
          <a:xfrm>
            <a:off x="-162838" y="487824"/>
            <a:ext cx="914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2" algn="ctr"/>
            <a:r>
              <a:rPr lang="ru-RU" sz="36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1903 год – первая в мире лаборатория по контролю качества краски</a:t>
            </a:r>
            <a:endParaRPr lang="ru-RU" sz="1100" b="1" dirty="0">
              <a:solidFill>
                <a:srgbClr val="44697D">
                  <a:lumMod val="75000"/>
                </a:srgbClr>
              </a:solidFill>
              <a:latin typeface="Calibri" pitchFamily="34" charset="0"/>
            </a:endParaRPr>
          </a:p>
        </p:txBody>
      </p:sp>
      <p:pic>
        <p:nvPicPr>
          <p:cNvPr id="118786" name="Picture 2" descr="http://img-fotki.yandex.ru/get/4603/leon-maksimow.22/0_39527_9a7df949_XL.jpg">
            <a:extLst>
              <a:ext uri="{FF2B5EF4-FFF2-40B4-BE49-F238E27FC236}">
                <a16:creationId xmlns:a16="http://schemas.microsoft.com/office/drawing/2014/main" id="{A2F3DCFF-0753-4D92-898C-2D52D88FD9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5457" y="2309251"/>
            <a:ext cx="5319486" cy="3597302"/>
          </a:xfrm>
          <a:prstGeom prst="ellipse">
            <a:avLst/>
          </a:prstGeom>
          <a:ln w="190500" cap="rnd">
            <a:solidFill>
              <a:srgbClr val="C8C6BD"/>
            </a:solidFill>
            <a:prstDash val="solid"/>
          </a:ln>
          <a:effectLst>
            <a:outerShdw blurRad="127000" algn="bl" rotWithShape="0">
              <a:srgbClr val="000000"/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D:\!!!Макеты\логотипы\Sikkens\Sikkens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188764" y="6021580"/>
            <a:ext cx="1776624" cy="684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85397294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6DA7717F-773B-498E-B883-7F50672908A6}"/>
              </a:ext>
            </a:extLst>
          </p:cNvPr>
          <p:cNvSpPr txBox="1"/>
          <p:nvPr/>
        </p:nvSpPr>
        <p:spPr>
          <a:xfrm>
            <a:off x="0" y="594363"/>
            <a:ext cx="892628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2"/>
            <a:r>
              <a:rPr lang="en-US" sz="3600" b="1" dirty="0" err="1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Sikkens</a:t>
            </a:r>
            <a:r>
              <a:rPr lang="en-US" sz="36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 </a:t>
            </a:r>
            <a:r>
              <a:rPr lang="ru-RU" sz="36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одним из первых изобрел </a:t>
            </a:r>
            <a:br>
              <a:rPr lang="ru-RU" sz="36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</a:br>
            <a:r>
              <a:rPr lang="ru-RU" sz="36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и стал использовать колеровочное оборудование</a:t>
            </a:r>
            <a:endParaRPr lang="ru-RU" sz="1100" b="1" dirty="0">
              <a:solidFill>
                <a:srgbClr val="44697D">
                  <a:lumMod val="75000"/>
                </a:srgbClr>
              </a:solidFill>
              <a:latin typeface="Calibri" pitchFamily="34" charset="0"/>
            </a:endParaRPr>
          </a:p>
        </p:txBody>
      </p:sp>
      <p:pic>
        <p:nvPicPr>
          <p:cNvPr id="8" name="Picture 2" descr="L:\Marketing\Brand HAMMERITE\HAMMERITE GLOBAL\Sikkens\DSC_0478.JPG">
            <a:extLst>
              <a:ext uri="{FF2B5EF4-FFF2-40B4-BE49-F238E27FC236}">
                <a16:creationId xmlns:a16="http://schemas.microsoft.com/office/drawing/2014/main" id="{541BFCB9-CFF1-456E-BE67-231F57DA27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202" y="2835171"/>
            <a:ext cx="3527992" cy="2645994"/>
          </a:xfrm>
          <a:prstGeom prst="ellipse">
            <a:avLst/>
          </a:prstGeom>
          <a:ln w="190500" cap="rnd">
            <a:solidFill>
              <a:srgbClr val="C8C6BD"/>
            </a:solidFill>
            <a:prstDash val="solid"/>
          </a:ln>
          <a:effectLst>
            <a:outerShdw blurRad="127000" algn="bl" rotWithShape="0">
              <a:srgbClr val="000000"/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 descr="L:\Marketing\Brand HAMMERITE\HAMMERITE GLOBAL\Sikkens\DSC_0479.JPG">
            <a:extLst>
              <a:ext uri="{FF2B5EF4-FFF2-40B4-BE49-F238E27FC236}">
                <a16:creationId xmlns:a16="http://schemas.microsoft.com/office/drawing/2014/main" id="{5BD477C9-0D71-4EEB-800F-5C177DFECF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3763" y="2456329"/>
            <a:ext cx="2461314" cy="3281752"/>
          </a:xfrm>
          <a:prstGeom prst="ellipse">
            <a:avLst/>
          </a:prstGeom>
          <a:ln w="190500" cap="rnd">
            <a:solidFill>
              <a:srgbClr val="C8C6BD"/>
            </a:solidFill>
            <a:prstDash val="solid"/>
          </a:ln>
          <a:effectLst>
            <a:outerShdw blurRad="127000" algn="bl" rotWithShape="0">
              <a:srgbClr val="000000"/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D:\!!!Макеты\логотипы\Sikkens\Sikkens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188764" y="6021580"/>
            <a:ext cx="1776624" cy="684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4132919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25EE3E2-1E39-4B72-A518-5509DE9F7A52}"/>
              </a:ext>
            </a:extLst>
          </p:cNvPr>
          <p:cNvSpPr txBox="1"/>
          <p:nvPr/>
        </p:nvSpPr>
        <p:spPr>
          <a:xfrm>
            <a:off x="-626852" y="502418"/>
            <a:ext cx="5624186" cy="5724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2"/>
            <a:r>
              <a:rPr lang="ru-RU" sz="23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Сегодня компания </a:t>
            </a:r>
            <a:r>
              <a:rPr lang="en-US" sz="23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Sikkens – </a:t>
            </a:r>
            <a:r>
              <a:rPr lang="ru-RU" sz="2300" b="1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это:</a:t>
            </a:r>
          </a:p>
          <a:p>
            <a:pPr lvl="2"/>
            <a:endParaRPr lang="ru-RU" sz="2300" b="1" dirty="0">
              <a:solidFill>
                <a:srgbClr val="44697D">
                  <a:lumMod val="75000"/>
                </a:srgbClr>
              </a:solidFill>
              <a:latin typeface="Calibri" pitchFamily="34" charset="0"/>
            </a:endParaRPr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Sikkens – </a:t>
            </a:r>
            <a:r>
              <a:rPr lang="ru-RU" sz="20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одна из наиболее популярных компаний в Европе </a:t>
            </a:r>
            <a:br>
              <a:rPr lang="ru-RU" sz="20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</a:br>
            <a:r>
              <a:rPr lang="ru-RU" sz="20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по производству декоративных покрытий</a:t>
            </a:r>
          </a:p>
          <a:p>
            <a:pPr marL="1257300" lvl="2" indent="-342900">
              <a:buFont typeface="Wingdings" panose="05000000000000000000" pitchFamily="2" charset="2"/>
              <a:buChar char="ü"/>
            </a:pPr>
            <a:endParaRPr lang="ru-RU" sz="2000" dirty="0">
              <a:solidFill>
                <a:srgbClr val="44697D">
                  <a:lumMod val="75000"/>
                </a:srgbClr>
              </a:solidFill>
              <a:latin typeface="Calibri" pitchFamily="34" charset="0"/>
            </a:endParaRPr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ru-RU" sz="20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Продукция </a:t>
            </a:r>
            <a:r>
              <a:rPr lang="en-US" sz="2000" dirty="0" err="1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Sikkens</a:t>
            </a:r>
            <a:r>
              <a:rPr lang="en-US" sz="20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 </a:t>
            </a:r>
            <a:r>
              <a:rPr lang="ru-RU" sz="20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представлена </a:t>
            </a:r>
            <a:br>
              <a:rPr lang="ru-RU" sz="20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</a:br>
            <a:r>
              <a:rPr lang="ru-RU" sz="20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на всех континентах</a:t>
            </a:r>
          </a:p>
          <a:p>
            <a:pPr lvl="2">
              <a:buFont typeface="Wingdings" pitchFamily="2" charset="2"/>
              <a:buChar char="ü"/>
            </a:pPr>
            <a:endParaRPr lang="ru-RU" sz="2000" dirty="0">
              <a:solidFill>
                <a:srgbClr val="44697D">
                  <a:lumMod val="75000"/>
                </a:srgbClr>
              </a:solidFill>
              <a:latin typeface="Calibri" pitchFamily="34" charset="0"/>
            </a:endParaRPr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Sikkens</a:t>
            </a:r>
            <a:r>
              <a:rPr lang="en-US" sz="20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 </a:t>
            </a:r>
            <a:r>
              <a:rPr lang="ru-RU" sz="20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производит весь спектр лакокрасочной продукции </a:t>
            </a:r>
            <a:br>
              <a:rPr lang="ru-RU" sz="20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</a:br>
            <a:r>
              <a:rPr lang="ru-RU" sz="20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от декоративных покрытий </a:t>
            </a:r>
            <a:br>
              <a:rPr lang="ru-RU" sz="20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</a:br>
            <a:r>
              <a:rPr lang="ru-RU" sz="20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до специальных покрытий </a:t>
            </a:r>
            <a:br>
              <a:rPr lang="ru-RU" sz="20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</a:br>
            <a:r>
              <a:rPr lang="ru-RU" sz="20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для самолетов и судов</a:t>
            </a:r>
          </a:p>
          <a:p>
            <a:pPr lvl="2">
              <a:buFont typeface="Wingdings" pitchFamily="2" charset="2"/>
              <a:buChar char="ü"/>
            </a:pPr>
            <a:endParaRPr lang="en-US" sz="2000" dirty="0">
              <a:solidFill>
                <a:srgbClr val="44697D">
                  <a:lumMod val="75000"/>
                </a:srgbClr>
              </a:solidFill>
              <a:latin typeface="Calibri" pitchFamily="34" charset="0"/>
            </a:endParaRPr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ru-RU" sz="20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rPr>
              <a:t>Производство находится во Франции, Бельгии, Италии, Нидерландах.</a:t>
            </a:r>
            <a:endParaRPr lang="en-US" sz="2000" dirty="0">
              <a:solidFill>
                <a:srgbClr val="44697D">
                  <a:lumMod val="75000"/>
                </a:srgbClr>
              </a:solidFill>
              <a:latin typeface="Calibri" pitchFamily="34" charset="0"/>
            </a:endParaRPr>
          </a:p>
        </p:txBody>
      </p:sp>
      <p:pic>
        <p:nvPicPr>
          <p:cNvPr id="6" name="Picture 2" descr="http://s-hit.ru/index_files/color_mashine_sikken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11920" y="0"/>
            <a:ext cx="3932079" cy="5868237"/>
          </a:xfrm>
          <a:prstGeom prst="rect">
            <a:avLst/>
          </a:prstGeom>
          <a:noFill/>
        </p:spPr>
      </p:pic>
      <p:pic>
        <p:nvPicPr>
          <p:cNvPr id="8" name="Picture 2" descr="D:\!!!Макеты\логотипы\Sikkens\Sikkens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188764" y="6021580"/>
            <a:ext cx="1776624" cy="684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48370655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58569001-14E1-47B9-9BA1-8FFE1FA8DD71}"/>
              </a:ext>
            </a:extLst>
          </p:cNvPr>
          <p:cNvGrpSpPr/>
          <p:nvPr/>
        </p:nvGrpSpPr>
        <p:grpSpPr>
          <a:xfrm>
            <a:off x="336596" y="883998"/>
            <a:ext cx="2759089" cy="3024249"/>
            <a:chOff x="739833" y="737894"/>
            <a:chExt cx="2759089" cy="3024249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AB63E88-E49B-4C6B-BDDB-E61F6B56731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39833" y="737894"/>
              <a:ext cx="2759089" cy="2749829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7E249A4-A982-4AF6-86F2-DFF1C92B5E90}"/>
                </a:ext>
              </a:extLst>
            </p:cNvPr>
            <p:cNvSpPr/>
            <p:nvPr/>
          </p:nvSpPr>
          <p:spPr>
            <a:xfrm>
              <a:off x="812769" y="3423589"/>
              <a:ext cx="2613216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dirty="0">
                  <a:solidFill>
                    <a:srgbClr val="44697D">
                      <a:lumMod val="75000"/>
                    </a:srgbClr>
                  </a:solidFill>
                  <a:latin typeface="Calibri" pitchFamily="34" charset="0"/>
                </a:rPr>
                <a:t>Музей Ван Гога, Амстердам</a:t>
              </a:r>
              <a:endParaRPr lang="en-US" sz="16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EFC761B-E539-4BAC-87C1-66FAE3D10F9A}"/>
              </a:ext>
            </a:extLst>
          </p:cNvPr>
          <p:cNvGrpSpPr/>
          <p:nvPr/>
        </p:nvGrpSpPr>
        <p:grpSpPr>
          <a:xfrm>
            <a:off x="3189415" y="1224268"/>
            <a:ext cx="2843878" cy="2194941"/>
            <a:chOff x="3775215" y="162708"/>
            <a:chExt cx="2843878" cy="2194941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D7720678-5242-44D1-85AB-AE07C85545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5215" y="162708"/>
              <a:ext cx="2843878" cy="1895919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4817C92-742C-4F85-BA2B-88371AB20EC1}"/>
                </a:ext>
              </a:extLst>
            </p:cNvPr>
            <p:cNvSpPr/>
            <p:nvPr/>
          </p:nvSpPr>
          <p:spPr>
            <a:xfrm>
              <a:off x="3905162" y="2019095"/>
              <a:ext cx="247375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dirty="0" err="1">
                  <a:solidFill>
                    <a:srgbClr val="44697D">
                      <a:lumMod val="75000"/>
                    </a:srgbClr>
                  </a:solidFill>
                  <a:latin typeface="Calibri" pitchFamily="34" charset="0"/>
                </a:rPr>
                <a:t>Ре́йксмюсеум</a:t>
              </a:r>
              <a:r>
                <a:rPr lang="ru-RU" sz="1600" dirty="0">
                  <a:solidFill>
                    <a:srgbClr val="44697D">
                      <a:lumMod val="75000"/>
                    </a:srgbClr>
                  </a:solidFill>
                  <a:latin typeface="Calibri" pitchFamily="34" charset="0"/>
                </a:rPr>
                <a:t>, Амстердам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4796BF2-5538-43D0-97FB-DB7E268A5172}"/>
              </a:ext>
            </a:extLst>
          </p:cNvPr>
          <p:cNvGrpSpPr/>
          <p:nvPr/>
        </p:nvGrpSpPr>
        <p:grpSpPr>
          <a:xfrm>
            <a:off x="3225397" y="3774213"/>
            <a:ext cx="2771913" cy="2602736"/>
            <a:chOff x="2001439" y="4227774"/>
            <a:chExt cx="2771913" cy="2602736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BF1EBB5-4F3B-4B9D-BB53-65DFDEDE454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186285" y="4227774"/>
              <a:ext cx="2271805" cy="2264182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F6FD22E-DCD2-4D21-A0FF-56DB9352D2D3}"/>
                </a:ext>
              </a:extLst>
            </p:cNvPr>
            <p:cNvSpPr/>
            <p:nvPr/>
          </p:nvSpPr>
          <p:spPr>
            <a:xfrm>
              <a:off x="2001439" y="6491956"/>
              <a:ext cx="277191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dirty="0">
                  <a:solidFill>
                    <a:srgbClr val="44697D">
                      <a:lumMod val="75000"/>
                    </a:srgbClr>
                  </a:solidFill>
                  <a:latin typeface="Calibri" pitchFamily="34" charset="0"/>
                </a:rPr>
                <a:t>Театр-опера Ла Скала, Милан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729DC4B-85FF-41E0-84BE-FBE59617DFB3}"/>
              </a:ext>
            </a:extLst>
          </p:cNvPr>
          <p:cNvGrpSpPr/>
          <p:nvPr/>
        </p:nvGrpSpPr>
        <p:grpSpPr>
          <a:xfrm>
            <a:off x="6114323" y="152419"/>
            <a:ext cx="2843877" cy="3098140"/>
            <a:chOff x="7568676" y="124132"/>
            <a:chExt cx="2843877" cy="309814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25E1657F-85A8-4D7C-8A10-3C83600D715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568676" y="124132"/>
              <a:ext cx="2843877" cy="2846532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6E5D7B-BC00-4820-A10F-BD64E4237099}"/>
                </a:ext>
              </a:extLst>
            </p:cNvPr>
            <p:cNvSpPr/>
            <p:nvPr/>
          </p:nvSpPr>
          <p:spPr>
            <a:xfrm>
              <a:off x="7601451" y="2883718"/>
              <a:ext cx="2778325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dirty="0">
                  <a:solidFill>
                    <a:srgbClr val="44697D">
                      <a:lumMod val="75000"/>
                    </a:srgbClr>
                  </a:solidFill>
                  <a:latin typeface="Calibri" pitchFamily="34" charset="0"/>
                </a:rPr>
                <a:t>Исторический музей Берлина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C59919F-DF27-419F-83C7-4462B59BB5BD}"/>
              </a:ext>
            </a:extLst>
          </p:cNvPr>
          <p:cNvGrpSpPr/>
          <p:nvPr/>
        </p:nvGrpSpPr>
        <p:grpSpPr>
          <a:xfrm>
            <a:off x="217833" y="4182667"/>
            <a:ext cx="2852063" cy="2647962"/>
            <a:chOff x="7922967" y="3459545"/>
            <a:chExt cx="2852063" cy="264796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8B9DB90-54CA-4183-9A5A-AF61EF02F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166607" y="3459545"/>
              <a:ext cx="2364785" cy="2364464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5807941-C323-4C1F-8119-4445151937B5}"/>
                </a:ext>
              </a:extLst>
            </p:cNvPr>
            <p:cNvSpPr/>
            <p:nvPr/>
          </p:nvSpPr>
          <p:spPr>
            <a:xfrm>
              <a:off x="7922967" y="5768953"/>
              <a:ext cx="285206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dirty="0">
                  <a:solidFill>
                    <a:srgbClr val="44697D">
                      <a:lumMod val="75000"/>
                    </a:srgbClr>
                  </a:solidFill>
                  <a:latin typeface="Calibri" pitchFamily="34" charset="0"/>
                </a:rPr>
                <a:t>Церковь Сан Доминго, Малага</a:t>
              </a:r>
              <a:endParaRPr lang="en-US" sz="16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F9C9DDE-18DA-45AE-9B03-8C5D2F270E13}"/>
              </a:ext>
            </a:extLst>
          </p:cNvPr>
          <p:cNvGrpSpPr/>
          <p:nvPr/>
        </p:nvGrpSpPr>
        <p:grpSpPr>
          <a:xfrm>
            <a:off x="5867141" y="3286562"/>
            <a:ext cx="3276859" cy="2752292"/>
            <a:chOff x="5495732" y="4009346"/>
            <a:chExt cx="3276859" cy="2752292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FF773526-0095-4C4E-832B-A22A5351C4D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5961519" y="4009346"/>
              <a:ext cx="2432066" cy="2423904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D733BE9-9A03-4B23-84E8-6C36EC7DE9A8}"/>
                </a:ext>
              </a:extLst>
            </p:cNvPr>
            <p:cNvSpPr/>
            <p:nvPr/>
          </p:nvSpPr>
          <p:spPr>
            <a:xfrm>
              <a:off x="5495732" y="6423084"/>
              <a:ext cx="327685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dirty="0">
                  <a:solidFill>
                    <a:srgbClr val="44697D">
                      <a:lumMod val="75000"/>
                    </a:srgbClr>
                  </a:solidFill>
                  <a:latin typeface="Calibri" pitchFamily="34" charset="0"/>
                </a:rPr>
                <a:t>Церковь Святого Михаила</a:t>
              </a:r>
              <a:r>
                <a:rPr lang="en-US" sz="1600" dirty="0">
                  <a:solidFill>
                    <a:srgbClr val="44697D">
                      <a:lumMod val="75000"/>
                    </a:srgbClr>
                  </a:solidFill>
                  <a:latin typeface="Calibri" pitchFamily="34" charset="0"/>
                </a:rPr>
                <a:t>, </a:t>
              </a:r>
              <a:r>
                <a:rPr lang="ru-RU" sz="1600" dirty="0">
                  <a:solidFill>
                    <a:srgbClr val="44697D">
                      <a:lumMod val="75000"/>
                    </a:srgbClr>
                  </a:solidFill>
                  <a:latin typeface="Calibri" pitchFamily="34" charset="0"/>
                </a:rPr>
                <a:t>Гамбург</a:t>
              </a:r>
              <a:endParaRPr lang="en-US" sz="1600" dirty="0">
                <a:solidFill>
                  <a:srgbClr val="44697D">
                    <a:lumMod val="75000"/>
                  </a:srgbClr>
                </a:solidFill>
                <a:latin typeface="Calibri" pitchFamily="34" charset="0"/>
              </a:endParaRPr>
            </a:p>
          </p:txBody>
        </p:sp>
      </p:grpSp>
      <p:sp>
        <p:nvSpPr>
          <p:cNvPr id="30" name="Title 1">
            <a:extLst>
              <a:ext uri="{FF2B5EF4-FFF2-40B4-BE49-F238E27FC236}">
                <a16:creationId xmlns:a16="http://schemas.microsoft.com/office/drawing/2014/main" id="{FC193459-4AE0-405C-B4CA-9C1C08D3FBDC}"/>
              </a:ext>
            </a:extLst>
          </p:cNvPr>
          <p:cNvSpPr txBox="1">
            <a:spLocks/>
          </p:cNvSpPr>
          <p:nvPr/>
        </p:nvSpPr>
        <p:spPr>
          <a:xfrm>
            <a:off x="2177560" y="193836"/>
            <a:ext cx="2928958" cy="684000"/>
          </a:xfrm>
          <a:prstGeom prst="rect">
            <a:avLst/>
          </a:prstGeom>
        </p:spPr>
        <p:txBody>
          <a:bodyPr wrap="square" lIns="0" tIns="0" rIns="0" bIns="0" rtlCol="0" anchor="b" anchorCtr="0">
            <a:noAutofit/>
          </a:bodyPr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rgbClr val="005192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lnSpc>
                <a:spcPts val="3000"/>
              </a:lnSpc>
              <a:defRPr/>
            </a:pPr>
            <a:r>
              <a:rPr lang="ru-RU" sz="4000" dirty="0">
                <a:solidFill>
                  <a:srgbClr val="44697D"/>
                </a:solidFill>
                <a:latin typeface="Calibri" pitchFamily="34" charset="0"/>
              </a:rPr>
              <a:t>Европа</a:t>
            </a:r>
          </a:p>
        </p:txBody>
      </p:sp>
      <p:pic>
        <p:nvPicPr>
          <p:cNvPr id="29" name="Picture 2" descr="D:\!!!Макеты\логотипы\Sikkens\Sikkens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188764" y="6021580"/>
            <a:ext cx="1776624" cy="684000"/>
          </a:xfrm>
          <a:prstGeom prst="rect">
            <a:avLst/>
          </a:prstGeom>
          <a:noFill/>
        </p:spPr>
      </p:pic>
      <p:pic>
        <p:nvPicPr>
          <p:cNvPr id="33" name="Picture 2" descr="D:\!!!Макеты\логотипы\Sikkens\Sikkens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07318" y="124873"/>
            <a:ext cx="1776624" cy="684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0383334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>
            <a:extLst>
              <a:ext uri="{FF2B5EF4-FFF2-40B4-BE49-F238E27FC236}">
                <a16:creationId xmlns:a16="http://schemas.microsoft.com/office/drawing/2014/main" id="{285253D9-77F7-49C9-8B53-82032E728A4A}"/>
              </a:ext>
            </a:extLst>
          </p:cNvPr>
          <p:cNvGrpSpPr/>
          <p:nvPr/>
        </p:nvGrpSpPr>
        <p:grpSpPr>
          <a:xfrm>
            <a:off x="3001428" y="3095426"/>
            <a:ext cx="2914663" cy="2230836"/>
            <a:chOff x="2431794" y="2454905"/>
            <a:chExt cx="2914663" cy="2230836"/>
          </a:xfrm>
        </p:grpSpPr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0E7EA817-36E0-45B4-83AC-99655AC2F5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431794" y="2454905"/>
              <a:ext cx="2914663" cy="1922709"/>
            </a:xfrm>
            <a:prstGeom prst="rect">
              <a:avLst/>
            </a:prstGeom>
          </p:spPr>
        </p:pic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AAA9A6F3-7299-48E9-8B0F-0C40060CB68F}"/>
                </a:ext>
              </a:extLst>
            </p:cNvPr>
            <p:cNvSpPr/>
            <p:nvPr/>
          </p:nvSpPr>
          <p:spPr>
            <a:xfrm>
              <a:off x="2893119" y="4347187"/>
              <a:ext cx="201285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dirty="0"/>
                <a:t>Ресторан </a:t>
              </a:r>
              <a:r>
                <a:rPr lang="ru-RU" sz="1600" dirty="0" err="1"/>
                <a:t>Турандот</a:t>
              </a:r>
              <a:endParaRPr lang="ru-RU" sz="1600" dirty="0"/>
            </a:p>
          </p:txBody>
        </p:sp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5EA6FB5B-5105-4E7B-A950-5846C595C41D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819512" y="3011716"/>
            <a:ext cx="3116721" cy="233754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C5208AD1-8FB8-4620-8E08-DC6AD87D5447}"/>
              </a:ext>
            </a:extLst>
          </p:cNvPr>
          <p:cNvGrpSpPr/>
          <p:nvPr/>
        </p:nvGrpSpPr>
        <p:grpSpPr>
          <a:xfrm>
            <a:off x="191536" y="879682"/>
            <a:ext cx="2506588" cy="1973963"/>
            <a:chOff x="191536" y="1047462"/>
            <a:chExt cx="2506588" cy="197396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40335699-78E2-4A1B-A8E2-975725BE4A9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91536" y="1047462"/>
              <a:ext cx="2506588" cy="1673516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29DC8E5-0C77-43B5-B136-99CF0DEAC256}"/>
                </a:ext>
              </a:extLst>
            </p:cNvPr>
            <p:cNvSpPr/>
            <p:nvPr/>
          </p:nvSpPr>
          <p:spPr>
            <a:xfrm>
              <a:off x="567932" y="2682871"/>
              <a:ext cx="164339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dirty="0"/>
                <a:t>Большой театр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7B530A-8B33-409D-BE1A-207388F75205}"/>
              </a:ext>
            </a:extLst>
          </p:cNvPr>
          <p:cNvGrpSpPr/>
          <p:nvPr/>
        </p:nvGrpSpPr>
        <p:grpSpPr>
          <a:xfrm>
            <a:off x="3008888" y="879681"/>
            <a:ext cx="2506588" cy="1983156"/>
            <a:chOff x="2945956" y="1047461"/>
            <a:chExt cx="2506588" cy="198315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B0597CE-E9DB-479C-B2C3-93436F7D844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945956" y="1047461"/>
              <a:ext cx="2506588" cy="1686562"/>
            </a:xfrm>
            <a:prstGeom prst="rect">
              <a:avLst/>
            </a:prstGeom>
          </p:spPr>
        </p:pic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43DE671-0B6E-4516-87E8-97A90477F2F4}"/>
                </a:ext>
              </a:extLst>
            </p:cNvPr>
            <p:cNvSpPr/>
            <p:nvPr/>
          </p:nvSpPr>
          <p:spPr>
            <a:xfrm>
              <a:off x="3120105" y="2692063"/>
              <a:ext cx="208903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dirty="0"/>
                <a:t>Театр Современник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0454BD6-001C-4546-9131-C9D78659B797}"/>
              </a:ext>
            </a:extLst>
          </p:cNvPr>
          <p:cNvGrpSpPr/>
          <p:nvPr/>
        </p:nvGrpSpPr>
        <p:grpSpPr>
          <a:xfrm>
            <a:off x="5748691" y="879681"/>
            <a:ext cx="3270447" cy="2003272"/>
            <a:chOff x="5600809" y="1047461"/>
            <a:chExt cx="3270447" cy="2003272"/>
          </a:xfrm>
        </p:grpSpPr>
        <p:pic>
          <p:nvPicPr>
            <p:cNvPr id="116738" name="Picture 2" descr="ÐÐ¾ÑÐ¾Ð¶ÐµÐµ Ð¸Ð·Ð¾Ð±ÑÐ°Ð¶ÐµÐ½Ð¸Ðµ">
              <a:extLst>
                <a:ext uri="{FF2B5EF4-FFF2-40B4-BE49-F238E27FC236}">
                  <a16:creationId xmlns:a16="http://schemas.microsoft.com/office/drawing/2014/main" id="{08BDB65C-22E5-46CD-925E-C32B24469A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78358" y="1047461"/>
              <a:ext cx="2998331" cy="16865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102164A-F076-45F7-B19B-02A1223187F9}"/>
                </a:ext>
              </a:extLst>
            </p:cNvPr>
            <p:cNvSpPr/>
            <p:nvPr/>
          </p:nvSpPr>
          <p:spPr>
            <a:xfrm>
              <a:off x="5600809" y="2712179"/>
              <a:ext cx="327044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dirty="0"/>
                <a:t>Ряд станций Московского метро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70309FE-693D-4603-9CE1-CD00C7B1C0A7}"/>
              </a:ext>
            </a:extLst>
          </p:cNvPr>
          <p:cNvGrpSpPr/>
          <p:nvPr/>
        </p:nvGrpSpPr>
        <p:grpSpPr>
          <a:xfrm>
            <a:off x="196562" y="2960955"/>
            <a:ext cx="2526787" cy="1894063"/>
            <a:chOff x="150525" y="3301717"/>
            <a:chExt cx="2526787" cy="1894063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E4FAAE1E-F60A-49B1-8221-0A302C6F6B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/>
            <a:srcRect l="13374" t="12741" r="16248" b="10290"/>
            <a:stretch/>
          </p:blipFill>
          <p:spPr>
            <a:xfrm>
              <a:off x="150525" y="3301717"/>
              <a:ext cx="2526787" cy="1555509"/>
            </a:xfrm>
            <a:prstGeom prst="rect">
              <a:avLst/>
            </a:prstGeom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FC13912-401A-4930-B92F-9C9751EF37F1}"/>
                </a:ext>
              </a:extLst>
            </p:cNvPr>
            <p:cNvSpPr/>
            <p:nvPr/>
          </p:nvSpPr>
          <p:spPr>
            <a:xfrm>
              <a:off x="643642" y="4857226"/>
              <a:ext cx="1241045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dirty="0"/>
                <a:t>ВТБ-Арена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ADCE8FB-5BB5-4C36-A85F-087DC7CFADC7}"/>
              </a:ext>
            </a:extLst>
          </p:cNvPr>
          <p:cNvGrpSpPr/>
          <p:nvPr/>
        </p:nvGrpSpPr>
        <p:grpSpPr>
          <a:xfrm>
            <a:off x="191536" y="4929810"/>
            <a:ext cx="2506588" cy="1769688"/>
            <a:chOff x="191536" y="5097590"/>
            <a:chExt cx="2506588" cy="1769688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62095A6E-A940-48AD-AB26-0FC8BFF1E4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/>
            <a:srcRect b="14671"/>
            <a:stretch/>
          </p:blipFill>
          <p:spPr>
            <a:xfrm>
              <a:off x="191536" y="5097590"/>
              <a:ext cx="2506588" cy="1425895"/>
            </a:xfrm>
            <a:prstGeom prst="rect">
              <a:avLst/>
            </a:prstGeom>
          </p:spPr>
        </p:pic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A2C8DFE-7DC2-4DBE-B139-0678C05DBDDF}"/>
                </a:ext>
              </a:extLst>
            </p:cNvPr>
            <p:cNvSpPr/>
            <p:nvPr/>
          </p:nvSpPr>
          <p:spPr>
            <a:xfrm>
              <a:off x="191536" y="6528724"/>
              <a:ext cx="2456635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dirty="0"/>
                <a:t>Аэропорт Шереметьево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5B86E500-F449-46A7-9478-6BDE32F4EED3}"/>
              </a:ext>
            </a:extLst>
          </p:cNvPr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5307477" y="4368300"/>
            <a:ext cx="2977640" cy="2233230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6C467E8E-A847-41EA-8905-83709EDB9911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/>
          <a:srcRect b="9239"/>
          <a:stretch/>
        </p:blipFill>
        <p:spPr>
          <a:xfrm>
            <a:off x="3036826" y="4382723"/>
            <a:ext cx="3047729" cy="2218807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3D63546B-2B6E-4C84-ADC8-80115E56E87E}"/>
              </a:ext>
            </a:extLst>
          </p:cNvPr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1997826" y="2096659"/>
            <a:ext cx="3968924" cy="223252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A7081905-2C0D-4B1E-9B4A-95F4A057F7EE}"/>
              </a:ext>
            </a:extLst>
          </p:cNvPr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5108531" y="4053867"/>
            <a:ext cx="3810000" cy="2390775"/>
          </a:xfrm>
          <a:prstGeom prst="rect">
            <a:avLst/>
          </a:prstGeom>
        </p:spPr>
      </p:pic>
      <p:pic>
        <p:nvPicPr>
          <p:cNvPr id="29" name="Picture 2" descr="ÐÐ°ÑÑÐ¸Ð½ÐºÐ¸ Ð¿Ð¾ Ð·Ð°Ð¿ÑÐ¾ÑÑ Ð¸Ð² ÑÐ¾ÑÐµ Ð¼Ð°Ð³Ð°Ð·Ð¸Ð½">
            <a:extLst>
              <a:ext uri="{FF2B5EF4-FFF2-40B4-BE49-F238E27FC236}">
                <a16:creationId xmlns:a16="http://schemas.microsoft.com/office/drawing/2014/main" id="{552A3064-4F98-4F2D-8887-345276791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507" y="4009497"/>
            <a:ext cx="3600450" cy="2400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89E1C8C-CFDA-4063-BEBE-55E1D9B30B88}"/>
              </a:ext>
            </a:extLst>
          </p:cNvPr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5385839" y="785856"/>
            <a:ext cx="3511359" cy="233984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C3F78C94-1A1B-485D-8D0C-DA411EC7D8BE}"/>
              </a:ext>
            </a:extLst>
          </p:cNvPr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600944" y="782992"/>
            <a:ext cx="4506362" cy="2339842"/>
          </a:xfrm>
          <a:prstGeom prst="rect">
            <a:avLst/>
          </a:prstGeom>
        </p:spPr>
      </p:pic>
      <p:sp>
        <p:nvSpPr>
          <p:cNvPr id="49" name="Title 1">
            <a:extLst>
              <a:ext uri="{FF2B5EF4-FFF2-40B4-BE49-F238E27FC236}">
                <a16:creationId xmlns:a16="http://schemas.microsoft.com/office/drawing/2014/main" id="{A065027E-50CE-4A8A-9599-B97377C0378D}"/>
              </a:ext>
            </a:extLst>
          </p:cNvPr>
          <p:cNvSpPr txBox="1">
            <a:spLocks/>
          </p:cNvSpPr>
          <p:nvPr/>
        </p:nvSpPr>
        <p:spPr>
          <a:xfrm>
            <a:off x="2031202" y="213299"/>
            <a:ext cx="2928958" cy="684000"/>
          </a:xfrm>
          <a:prstGeom prst="rect">
            <a:avLst/>
          </a:prstGeom>
        </p:spPr>
        <p:txBody>
          <a:bodyPr wrap="square" lIns="0" tIns="0" rIns="0" bIns="0" rtlCol="0" anchor="b" anchorCtr="0">
            <a:noAutofit/>
          </a:bodyPr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rgbClr val="005192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lnSpc>
                <a:spcPts val="3000"/>
              </a:lnSpc>
              <a:defRPr/>
            </a:pPr>
            <a:r>
              <a:rPr lang="ru-RU" sz="4000" dirty="0">
                <a:solidFill>
                  <a:srgbClr val="44697D"/>
                </a:solidFill>
                <a:latin typeface="Calibri" pitchFamily="34" charset="0"/>
              </a:rPr>
              <a:t>Россия</a:t>
            </a:r>
          </a:p>
        </p:txBody>
      </p:sp>
      <p:pic>
        <p:nvPicPr>
          <p:cNvPr id="43" name="Picture 2" descr="D:\!!!Макеты\логотипы\Sikkens\Sikkens.png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188764" y="6021580"/>
            <a:ext cx="1776624" cy="684000"/>
          </a:xfrm>
          <a:prstGeom prst="rect">
            <a:avLst/>
          </a:prstGeom>
          <a:noFill/>
        </p:spPr>
      </p:pic>
      <p:pic>
        <p:nvPicPr>
          <p:cNvPr id="51" name="Picture 2" descr="D:\!!!Макеты\логотипы\Sikkens\Sikkens.png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166641" y="225356"/>
            <a:ext cx="1776624" cy="684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610011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Изображение выглядит как здание, красный, сидит, дверь&#10;&#10;Автоматически созданное описание">
            <a:extLst>
              <a:ext uri="{FF2B5EF4-FFF2-40B4-BE49-F238E27FC236}">
                <a16:creationId xmlns:a16="http://schemas.microsoft.com/office/drawing/2014/main" id="{3F8415A2-B3EE-4BC4-8FF2-727BBFED5FB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8" r="6911"/>
          <a:stretch>
            <a:fillRect/>
          </a:stretch>
        </p:blipFill>
        <p:spPr>
          <a:xfrm>
            <a:off x="0" y="-24"/>
            <a:ext cx="9144000" cy="6872847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5044377-D26C-42CA-9325-A3383F589E3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3648" y="4772377"/>
            <a:ext cx="3667637" cy="1066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700659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N_DecorativePaints_4x3">
  <a:themeElements>
    <a:clrScheme name="AkzoNobel Red">
      <a:dk1>
        <a:srgbClr val="000000"/>
      </a:dk1>
      <a:lt1>
        <a:srgbClr val="FFFFFF"/>
      </a:lt1>
      <a:dk2>
        <a:srgbClr val="868688"/>
      </a:dk2>
      <a:lt2>
        <a:srgbClr val="B7B9BA"/>
      </a:lt2>
      <a:accent1>
        <a:srgbClr val="E4312C"/>
      </a:accent1>
      <a:accent2>
        <a:srgbClr val="C3004A"/>
      </a:accent2>
      <a:accent3>
        <a:srgbClr val="F2A6AA"/>
      </a:accent3>
      <a:accent4>
        <a:srgbClr val="F18E00"/>
      </a:accent4>
      <a:accent5>
        <a:srgbClr val="FBC682"/>
      </a:accent5>
      <a:accent6>
        <a:srgbClr val="FFF598"/>
      </a:accent6>
      <a:hlink>
        <a:srgbClr val="008BC5"/>
      </a:hlink>
      <a:folHlink>
        <a:srgbClr val="005192"/>
      </a:folHlink>
    </a:clrScheme>
    <a:fontScheme name="AkzoNob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lIns="0" tIns="0" rIns="0" bIns="0" rtlCol="0" anchor="t" anchorCtr="0"/>
      <a:lstStyle>
        <a:defPPr algn="l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400" b="0" dirty="0" smtClean="0"/>
        </a:defPPr>
      </a:lstStyle>
    </a:txDef>
  </a:objectDefaults>
  <a:extraClrSchemeLst/>
  <a:custClrLst>
    <a:custClr name="AN Dark Blue">
      <a:srgbClr val="005192"/>
    </a:custClr>
    <a:custClr name="AN Red">
      <a:srgbClr val="E4312C"/>
    </a:custClr>
    <a:custClr name="AN Orange">
      <a:srgbClr val="F18E00"/>
    </a:custClr>
    <a:custClr name="AN Yellow">
      <a:srgbClr val="FECB00"/>
    </a:custClr>
    <a:custClr name="AN Lime">
      <a:srgbClr val="CECD00"/>
    </a:custClr>
    <a:custClr name="AN Green">
      <a:srgbClr val="96BF0D"/>
    </a:custClr>
    <a:custClr name="AN Turquoise">
      <a:srgbClr val="0092BB"/>
    </a:custClr>
    <a:custClr name="AN Purple">
      <a:srgbClr val="56378A"/>
    </a:custClr>
    <a:custClr name="AN Violet">
      <a:srgbClr val="952D98"/>
    </a:custClr>
    <a:custClr name="AN Fuchsia">
      <a:srgbClr val="C3004A"/>
    </a:custClr>
    <a:custClr name="AN Light Blue">
      <a:srgbClr val="008BC5"/>
    </a:custClr>
    <a:custClr name="AN Pale Red">
      <a:srgbClr val="F2A6AA"/>
    </a:custClr>
    <a:custClr name="AN Pale Orange">
      <a:srgbClr val="FBC682"/>
    </a:custClr>
    <a:custClr name="AN Pale Yellow">
      <a:srgbClr val="FFF598"/>
    </a:custClr>
    <a:custClr name="AN Pale Lime">
      <a:srgbClr val="EAE34C"/>
    </a:custClr>
    <a:custClr name="AN Pale Green">
      <a:srgbClr val="D3DE89"/>
    </a:custClr>
    <a:custClr name="AN Pale Turquoise">
      <a:srgbClr val="55BECF"/>
    </a:custClr>
    <a:custClr name="AN Pale Purple">
      <a:srgbClr val="C5BBDA"/>
    </a:custClr>
    <a:custClr name="AN Pale Violet">
      <a:srgbClr val="C966CD"/>
    </a:custClr>
    <a:custClr name="AN Pale Fuchsia">
      <a:srgbClr val="E64487"/>
    </a:custClr>
    <a:custClr name="AN Gray">
      <a:srgbClr val="868688"/>
    </a:custClr>
    <a:custClr name="AN Gray Blue">
      <a:srgbClr val="44697D"/>
    </a:custClr>
    <a:custClr name=" ">
      <a:srgbClr val="FFFFFF"/>
    </a:custClr>
    <a:custClr name=" ">
      <a:srgbClr val="FFFFFF"/>
    </a:custClr>
    <a:custClr name=" ">
      <a:srgbClr val="FFFFFF"/>
    </a:custClr>
    <a:custClr name="AN Khaki">
      <a:srgbClr val="5B6334"/>
    </a:custClr>
    <a:custClr name="AN Brown">
      <a:srgbClr val="80331B"/>
    </a:custClr>
    <a:custClr name=" ">
      <a:srgbClr val="FFFFFF"/>
    </a:custClr>
    <a:custClr name=" ">
      <a:srgbClr val="FFFFFF"/>
    </a:custClr>
    <a:custClr name=" ">
      <a:srgbClr val="FFFFFF"/>
    </a:custClr>
    <a:custClr name="AN Pale Gray">
      <a:srgbClr val="B7B9BA"/>
    </a:custClr>
    <a:custClr name="AN Pale Gray Blue">
      <a:srgbClr val="B9C9D0"/>
    </a:custClr>
    <a:custClr name=" ">
      <a:srgbClr val="FFFFFF"/>
    </a:custClr>
    <a:custClr name=" ">
      <a:srgbClr val="FFFFFF"/>
    </a:custClr>
    <a:custClr name=" ">
      <a:srgbClr val="FFFFFF"/>
    </a:custClr>
    <a:custClr name="AN Pale Khaki">
      <a:srgbClr val="CBCFB3"/>
    </a:custClr>
    <a:custClr name="AN Pale Brown">
      <a:srgbClr val="BD8E6E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AN_DecorativePaints_Template_4x3.potx" id="{E8A1553A-C52E-46C7-84B4-996F2DFCF45A}" vid="{F24116BC-B667-4FC0-8448-250FFD6E4B32}"/>
    </a:ext>
  </a:extLst>
</a:theme>
</file>

<file path=ppt/theme/theme2.xml><?xml version="1.0" encoding="utf-8"?>
<a:theme xmlns:a="http://schemas.openxmlformats.org/drawingml/2006/main" name="4_AN_DecorativePaints_4x3">
  <a:themeElements>
    <a:clrScheme name="AkzoNobel Red">
      <a:dk1>
        <a:srgbClr val="000000"/>
      </a:dk1>
      <a:lt1>
        <a:srgbClr val="FFFFFF"/>
      </a:lt1>
      <a:dk2>
        <a:srgbClr val="868688"/>
      </a:dk2>
      <a:lt2>
        <a:srgbClr val="B7B9BA"/>
      </a:lt2>
      <a:accent1>
        <a:srgbClr val="E4312C"/>
      </a:accent1>
      <a:accent2>
        <a:srgbClr val="C3004A"/>
      </a:accent2>
      <a:accent3>
        <a:srgbClr val="F2A6AA"/>
      </a:accent3>
      <a:accent4>
        <a:srgbClr val="F18E00"/>
      </a:accent4>
      <a:accent5>
        <a:srgbClr val="FBC682"/>
      </a:accent5>
      <a:accent6>
        <a:srgbClr val="FFF598"/>
      </a:accent6>
      <a:hlink>
        <a:srgbClr val="008BC5"/>
      </a:hlink>
      <a:folHlink>
        <a:srgbClr val="005192"/>
      </a:folHlink>
    </a:clrScheme>
    <a:fontScheme name="AkzoNob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lIns="0" tIns="0" rIns="0" bIns="0" rtlCol="0" anchor="t" anchorCtr="0"/>
      <a:lstStyle>
        <a:defPPr algn="l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400" b="0" dirty="0" smtClean="0"/>
        </a:defPPr>
      </a:lstStyle>
    </a:txDef>
  </a:objectDefaults>
  <a:extraClrSchemeLst/>
  <a:custClrLst>
    <a:custClr name="AN Dark Blue">
      <a:srgbClr val="005192"/>
    </a:custClr>
    <a:custClr name="AN Red">
      <a:srgbClr val="E4312C"/>
    </a:custClr>
    <a:custClr name="AN Orange">
      <a:srgbClr val="F18E00"/>
    </a:custClr>
    <a:custClr name="AN Yellow">
      <a:srgbClr val="FECB00"/>
    </a:custClr>
    <a:custClr name="AN Lime">
      <a:srgbClr val="CECD00"/>
    </a:custClr>
    <a:custClr name="AN Green">
      <a:srgbClr val="96BF0D"/>
    </a:custClr>
    <a:custClr name="AN Turquoise">
      <a:srgbClr val="0092BB"/>
    </a:custClr>
    <a:custClr name="AN Purple">
      <a:srgbClr val="56378A"/>
    </a:custClr>
    <a:custClr name="AN Violet">
      <a:srgbClr val="952D98"/>
    </a:custClr>
    <a:custClr name="AN Fuchsia">
      <a:srgbClr val="C3004A"/>
    </a:custClr>
    <a:custClr name="AN Light Blue">
      <a:srgbClr val="008BC5"/>
    </a:custClr>
    <a:custClr name="AN Pale Red">
      <a:srgbClr val="F2A6AA"/>
    </a:custClr>
    <a:custClr name="AN Pale Orange">
      <a:srgbClr val="FBC682"/>
    </a:custClr>
    <a:custClr name="AN Pale Yellow">
      <a:srgbClr val="FFF598"/>
    </a:custClr>
    <a:custClr name="AN Pale Lime">
      <a:srgbClr val="EAE34C"/>
    </a:custClr>
    <a:custClr name="AN Pale Green">
      <a:srgbClr val="D3DE89"/>
    </a:custClr>
    <a:custClr name="AN Pale Turquoise">
      <a:srgbClr val="55BECF"/>
    </a:custClr>
    <a:custClr name="AN Pale Purple">
      <a:srgbClr val="C5BBDA"/>
    </a:custClr>
    <a:custClr name="AN Pale Violet">
      <a:srgbClr val="C966CD"/>
    </a:custClr>
    <a:custClr name="AN Pale Fuchsia">
      <a:srgbClr val="E64487"/>
    </a:custClr>
    <a:custClr name="AN Gray">
      <a:srgbClr val="868688"/>
    </a:custClr>
    <a:custClr name="AN Gray Blue">
      <a:srgbClr val="44697D"/>
    </a:custClr>
    <a:custClr name=" ">
      <a:srgbClr val="FFFFFF"/>
    </a:custClr>
    <a:custClr name=" ">
      <a:srgbClr val="FFFFFF"/>
    </a:custClr>
    <a:custClr name=" ">
      <a:srgbClr val="FFFFFF"/>
    </a:custClr>
    <a:custClr name="AN Khaki">
      <a:srgbClr val="5B6334"/>
    </a:custClr>
    <a:custClr name="AN Brown">
      <a:srgbClr val="80331B"/>
    </a:custClr>
    <a:custClr name=" ">
      <a:srgbClr val="FFFFFF"/>
    </a:custClr>
    <a:custClr name=" ">
      <a:srgbClr val="FFFFFF"/>
    </a:custClr>
    <a:custClr name=" ">
      <a:srgbClr val="FFFFFF"/>
    </a:custClr>
    <a:custClr name="AN Pale Gray">
      <a:srgbClr val="B7B9BA"/>
    </a:custClr>
    <a:custClr name="AN Pale Gray Blue">
      <a:srgbClr val="B9C9D0"/>
    </a:custClr>
    <a:custClr name=" ">
      <a:srgbClr val="FFFFFF"/>
    </a:custClr>
    <a:custClr name=" ">
      <a:srgbClr val="FFFFFF"/>
    </a:custClr>
    <a:custClr name=" ">
      <a:srgbClr val="FFFFFF"/>
    </a:custClr>
    <a:custClr name="AN Pale Khaki">
      <a:srgbClr val="CBCFB3"/>
    </a:custClr>
    <a:custClr name="AN Pale Brown">
      <a:srgbClr val="BD8E6E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AN_DecorativePaints_Template_4x3.potx" id="{E8A1553A-C52E-46C7-84B4-996F2DFCF45A}" vid="{F24116BC-B667-4FC0-8448-250FFD6E4B3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54</TotalTime>
  <Words>709</Words>
  <Application>Microsoft Office PowerPoint</Application>
  <PresentationFormat>Экран (4:3)</PresentationFormat>
  <Paragraphs>90</Paragraphs>
  <Slides>23</Slides>
  <Notes>1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29" baseType="lpstr">
      <vt:lpstr>Arial</vt:lpstr>
      <vt:lpstr>Calibri</vt:lpstr>
      <vt:lpstr>Wingdings</vt:lpstr>
      <vt:lpstr>AN_DecorativePaints_4x3</vt:lpstr>
      <vt:lpstr>4_AN_DecorativePaints_4x3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max. 2 lines Arial Bold 56pt</dc:title>
  <dc:creator>CAV</dc:creator>
  <cp:lastModifiedBy>Виктория</cp:lastModifiedBy>
  <cp:revision>681</cp:revision>
  <cp:lastPrinted>2018-04-24T08:58:16Z</cp:lastPrinted>
  <dcterms:created xsi:type="dcterms:W3CDTF">2016-05-23T09:49:46Z</dcterms:created>
  <dcterms:modified xsi:type="dcterms:W3CDTF">2020-04-02T16:04:01Z</dcterms:modified>
</cp:coreProperties>
</file>